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tags/tag29.xml" ContentType="application/vnd.openxmlformats-officedocument.presentationml.tags+xml"/>
  <Override PartName="/ppt/notesSlides/notesSlide3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58"/>
  </p:notesMasterIdLst>
  <p:sldIdLst>
    <p:sldId id="398" r:id="rId3"/>
    <p:sldId id="399" r:id="rId4"/>
    <p:sldId id="825" r:id="rId5"/>
    <p:sldId id="3008" r:id="rId6"/>
    <p:sldId id="2969" r:id="rId7"/>
    <p:sldId id="2979" r:id="rId8"/>
    <p:sldId id="2980" r:id="rId9"/>
    <p:sldId id="2981" r:id="rId10"/>
    <p:sldId id="2970" r:id="rId11"/>
    <p:sldId id="2982" r:id="rId12"/>
    <p:sldId id="2983" r:id="rId13"/>
    <p:sldId id="2984" r:id="rId14"/>
    <p:sldId id="299" r:id="rId15"/>
    <p:sldId id="2985" r:id="rId16"/>
    <p:sldId id="2986" r:id="rId17"/>
    <p:sldId id="2987" r:id="rId18"/>
    <p:sldId id="2988" r:id="rId19"/>
    <p:sldId id="2989" r:id="rId20"/>
    <p:sldId id="2990" r:id="rId21"/>
    <p:sldId id="2991" r:id="rId22"/>
    <p:sldId id="2992" r:id="rId23"/>
    <p:sldId id="2993" r:id="rId24"/>
    <p:sldId id="2994" r:id="rId25"/>
    <p:sldId id="2995" r:id="rId26"/>
    <p:sldId id="2996" r:id="rId27"/>
    <p:sldId id="302" r:id="rId28"/>
    <p:sldId id="305" r:id="rId29"/>
    <p:sldId id="2997" r:id="rId30"/>
    <p:sldId id="2998" r:id="rId31"/>
    <p:sldId id="306" r:id="rId32"/>
    <p:sldId id="307" r:id="rId33"/>
    <p:sldId id="2999" r:id="rId34"/>
    <p:sldId id="3001" r:id="rId35"/>
    <p:sldId id="3000" r:id="rId36"/>
    <p:sldId id="310" r:id="rId37"/>
    <p:sldId id="3002" r:id="rId38"/>
    <p:sldId id="308" r:id="rId39"/>
    <p:sldId id="311" r:id="rId40"/>
    <p:sldId id="312" r:id="rId41"/>
    <p:sldId id="3003" r:id="rId42"/>
    <p:sldId id="3004" r:id="rId43"/>
    <p:sldId id="3005" r:id="rId44"/>
    <p:sldId id="314" r:id="rId45"/>
    <p:sldId id="315" r:id="rId46"/>
    <p:sldId id="3006" r:id="rId47"/>
    <p:sldId id="3007" r:id="rId48"/>
    <p:sldId id="2971" r:id="rId49"/>
    <p:sldId id="2972" r:id="rId50"/>
    <p:sldId id="321" r:id="rId51"/>
    <p:sldId id="2973" r:id="rId52"/>
    <p:sldId id="2975" r:id="rId53"/>
    <p:sldId id="2977" r:id="rId54"/>
    <p:sldId id="2976" r:id="rId55"/>
    <p:sldId id="2974" r:id="rId56"/>
    <p:sldId id="2978" r:id="rId57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265B"/>
    <a:srgbClr val="ED145B"/>
    <a:srgbClr val="7F7F7F"/>
    <a:srgbClr val="ED7D31"/>
    <a:srgbClr val="4472C4"/>
    <a:srgbClr val="A5A5A5"/>
    <a:srgbClr val="BF9000"/>
    <a:srgbClr val="7C7C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916" autoAdjust="0"/>
    <p:restoredTop sz="94660"/>
  </p:normalViewPr>
  <p:slideViewPr>
    <p:cSldViewPr>
      <p:cViewPr varScale="1">
        <p:scale>
          <a:sx n="110" d="100"/>
          <a:sy n="110" d="100"/>
        </p:scale>
        <p:origin x="1896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61" Type="http://schemas.openxmlformats.org/officeDocument/2006/relationships/theme" Target="theme/theme1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presProps" Target="pres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28/08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222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32238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0992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7081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8872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8789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579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10561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798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28007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79289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142939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09322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5880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ext Box 1">
            <a:extLst>
              <a:ext uri="{FF2B5EF4-FFF2-40B4-BE49-F238E27FC236}">
                <a16:creationId xmlns:a16="http://schemas.microsoft.com/office/drawing/2014/main" id="{5A8362FD-5B67-CC3C-FE94-2A5DDED850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1747" name="Rectangle 2">
            <a:extLst>
              <a:ext uri="{FF2B5EF4-FFF2-40B4-BE49-F238E27FC236}">
                <a16:creationId xmlns:a16="http://schemas.microsoft.com/office/drawing/2014/main" id="{FD34D8ED-7950-52F6-4DC6-9CE05388D1E8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1">
            <a:extLst>
              <a:ext uri="{FF2B5EF4-FFF2-40B4-BE49-F238E27FC236}">
                <a16:creationId xmlns:a16="http://schemas.microsoft.com/office/drawing/2014/main" id="{BAD86F5E-8EC5-941C-D33C-09A1036BB9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E3D824E0-4E14-6811-B7D9-C3E5909E9EE3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1">
            <a:extLst>
              <a:ext uri="{FF2B5EF4-FFF2-40B4-BE49-F238E27FC236}">
                <a16:creationId xmlns:a16="http://schemas.microsoft.com/office/drawing/2014/main" id="{BAD86F5E-8EC5-941C-D33C-09A1036BB9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E3D824E0-4E14-6811-B7D9-C3E5909E9EE3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7626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1">
            <a:extLst>
              <a:ext uri="{FF2B5EF4-FFF2-40B4-BE49-F238E27FC236}">
                <a16:creationId xmlns:a16="http://schemas.microsoft.com/office/drawing/2014/main" id="{BAD86F5E-8EC5-941C-D33C-09A1036BB9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E3D824E0-4E14-6811-B7D9-C3E5909E9EE3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205043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ext Box 1">
            <a:extLst>
              <a:ext uri="{FF2B5EF4-FFF2-40B4-BE49-F238E27FC236}">
                <a16:creationId xmlns:a16="http://schemas.microsoft.com/office/drawing/2014/main" id="{D50429E6-1F0F-E6CC-DB26-00BAD274FC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5843" name="Rectangle 2">
            <a:extLst>
              <a:ext uri="{FF2B5EF4-FFF2-40B4-BE49-F238E27FC236}">
                <a16:creationId xmlns:a16="http://schemas.microsoft.com/office/drawing/2014/main" id="{9E6FFDBB-1943-82DE-4A4A-2F57E5F61DFD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>
            <a:extLst>
              <a:ext uri="{FF2B5EF4-FFF2-40B4-BE49-F238E27FC236}">
                <a16:creationId xmlns:a16="http://schemas.microsoft.com/office/drawing/2014/main" id="{C891BB56-6415-77AC-67CE-D809DC05F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C6E4AD11-6D1C-9221-9FCF-A5E5B38AF3BB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>
            <a:extLst>
              <a:ext uri="{FF2B5EF4-FFF2-40B4-BE49-F238E27FC236}">
                <a16:creationId xmlns:a16="http://schemas.microsoft.com/office/drawing/2014/main" id="{C891BB56-6415-77AC-67CE-D809DC05F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C6E4AD11-6D1C-9221-9FCF-A5E5B38AF3BB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54545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56704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>
            <a:extLst>
              <a:ext uri="{FF2B5EF4-FFF2-40B4-BE49-F238E27FC236}">
                <a16:creationId xmlns:a16="http://schemas.microsoft.com/office/drawing/2014/main" id="{C891BB56-6415-77AC-67CE-D809DC05F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C6E4AD11-6D1C-9221-9FCF-A5E5B38AF3BB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693011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>
            <a:extLst>
              <a:ext uri="{FF2B5EF4-FFF2-40B4-BE49-F238E27FC236}">
                <a16:creationId xmlns:a16="http://schemas.microsoft.com/office/drawing/2014/main" id="{C891BB56-6415-77AC-67CE-D809DC05F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C6E4AD11-6D1C-9221-9FCF-A5E5B38AF3BB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664780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ext Box 1">
            <a:extLst>
              <a:ext uri="{FF2B5EF4-FFF2-40B4-BE49-F238E27FC236}">
                <a16:creationId xmlns:a16="http://schemas.microsoft.com/office/drawing/2014/main" id="{CC445CB1-42BC-8FB9-44F1-5DBB56A2D4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1987" name="Rectangle 2">
            <a:extLst>
              <a:ext uri="{FF2B5EF4-FFF2-40B4-BE49-F238E27FC236}">
                <a16:creationId xmlns:a16="http://schemas.microsoft.com/office/drawing/2014/main" id="{4366DE68-9269-08A7-236C-688C6E9BAE39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ext Box 1">
            <a:extLst>
              <a:ext uri="{FF2B5EF4-FFF2-40B4-BE49-F238E27FC236}">
                <a16:creationId xmlns:a16="http://schemas.microsoft.com/office/drawing/2014/main" id="{CC445CB1-42BC-8FB9-44F1-5DBB56A2D4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1987" name="Rectangle 2">
            <a:extLst>
              <a:ext uri="{FF2B5EF4-FFF2-40B4-BE49-F238E27FC236}">
                <a16:creationId xmlns:a16="http://schemas.microsoft.com/office/drawing/2014/main" id="{4366DE68-9269-08A7-236C-688C6E9BAE39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9490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ext Box 1">
            <a:extLst>
              <a:ext uri="{FF2B5EF4-FFF2-40B4-BE49-F238E27FC236}">
                <a16:creationId xmlns:a16="http://schemas.microsoft.com/office/drawing/2014/main" id="{6AE2D08F-D587-2ED2-297A-A03A1A911A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4035" name="Rectangle 2">
            <a:extLst>
              <a:ext uri="{FF2B5EF4-FFF2-40B4-BE49-F238E27FC236}">
                <a16:creationId xmlns:a16="http://schemas.microsoft.com/office/drawing/2014/main" id="{D70522B2-6365-B6B3-55D1-0805DD1100BC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ext Box 1">
            <a:extLst>
              <a:ext uri="{FF2B5EF4-FFF2-40B4-BE49-F238E27FC236}">
                <a16:creationId xmlns:a16="http://schemas.microsoft.com/office/drawing/2014/main" id="{87435269-484D-CBBC-0458-3DF1B13C43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6083" name="Rectangle 2">
            <a:extLst>
              <a:ext uri="{FF2B5EF4-FFF2-40B4-BE49-F238E27FC236}">
                <a16:creationId xmlns:a16="http://schemas.microsoft.com/office/drawing/2014/main" id="{6D0B4D13-7E6B-3A6F-C82B-A1353E531E5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1">
            <a:extLst>
              <a:ext uri="{FF2B5EF4-FFF2-40B4-BE49-F238E27FC236}">
                <a16:creationId xmlns:a16="http://schemas.microsoft.com/office/drawing/2014/main" id="{AFD59B53-D301-FF76-E096-05E1A1646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8131" name="Rectangle 2">
            <a:extLst>
              <a:ext uri="{FF2B5EF4-FFF2-40B4-BE49-F238E27FC236}">
                <a16:creationId xmlns:a16="http://schemas.microsoft.com/office/drawing/2014/main" id="{56F2BAC1-03FF-49AF-031E-47D9F2775AB2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1">
            <a:extLst>
              <a:ext uri="{FF2B5EF4-FFF2-40B4-BE49-F238E27FC236}">
                <a16:creationId xmlns:a16="http://schemas.microsoft.com/office/drawing/2014/main" id="{AFD59B53-D301-FF76-E096-05E1A1646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8131" name="Rectangle 2">
            <a:extLst>
              <a:ext uri="{FF2B5EF4-FFF2-40B4-BE49-F238E27FC236}">
                <a16:creationId xmlns:a16="http://schemas.microsoft.com/office/drawing/2014/main" id="{56F2BAC1-03FF-49AF-031E-47D9F2775AB2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60733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1">
            <a:extLst>
              <a:ext uri="{FF2B5EF4-FFF2-40B4-BE49-F238E27FC236}">
                <a16:creationId xmlns:a16="http://schemas.microsoft.com/office/drawing/2014/main" id="{AFD59B53-D301-FF76-E096-05E1A1646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8131" name="Rectangle 2">
            <a:extLst>
              <a:ext uri="{FF2B5EF4-FFF2-40B4-BE49-F238E27FC236}">
                <a16:creationId xmlns:a16="http://schemas.microsoft.com/office/drawing/2014/main" id="{56F2BAC1-03FF-49AF-031E-47D9F2775AB2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562120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1">
            <a:extLst>
              <a:ext uri="{FF2B5EF4-FFF2-40B4-BE49-F238E27FC236}">
                <a16:creationId xmlns:a16="http://schemas.microsoft.com/office/drawing/2014/main" id="{AFD59B53-D301-FF76-E096-05E1A1646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8131" name="Rectangle 2">
            <a:extLst>
              <a:ext uri="{FF2B5EF4-FFF2-40B4-BE49-F238E27FC236}">
                <a16:creationId xmlns:a16="http://schemas.microsoft.com/office/drawing/2014/main" id="{56F2BAC1-03FF-49AF-031E-47D9F2775AB2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04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39622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ext Box 1">
            <a:extLst>
              <a:ext uri="{FF2B5EF4-FFF2-40B4-BE49-F238E27FC236}">
                <a16:creationId xmlns:a16="http://schemas.microsoft.com/office/drawing/2014/main" id="{6B4323D3-41B2-E917-98AB-9E1151E706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2227" name="Rectangle 2">
            <a:extLst>
              <a:ext uri="{FF2B5EF4-FFF2-40B4-BE49-F238E27FC236}">
                <a16:creationId xmlns:a16="http://schemas.microsoft.com/office/drawing/2014/main" id="{99080ED5-F12F-FB8F-4F23-D2EC52D8C091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686564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917326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051860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28137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55771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852415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24533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695835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573069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79989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6058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1">
            <a:extLst>
              <a:ext uri="{FF2B5EF4-FFF2-40B4-BE49-F238E27FC236}">
                <a16:creationId xmlns:a16="http://schemas.microsoft.com/office/drawing/2014/main" id="{4DFFFBFA-2177-9363-AC06-18537EF375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FD171F81-9A0E-A6A8-DE02-4FD3E5B882F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51625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1">
            <a:extLst>
              <a:ext uri="{FF2B5EF4-FFF2-40B4-BE49-F238E27FC236}">
                <a16:creationId xmlns:a16="http://schemas.microsoft.com/office/drawing/2014/main" id="{4DFFFBFA-2177-9363-AC06-18537EF375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FD171F81-9A0E-A6A8-DE02-4FD3E5B882F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86232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1">
            <a:extLst>
              <a:ext uri="{FF2B5EF4-FFF2-40B4-BE49-F238E27FC236}">
                <a16:creationId xmlns:a16="http://schemas.microsoft.com/office/drawing/2014/main" id="{4DFFFBFA-2177-9363-AC06-18537EF375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FD171F81-9A0E-A6A8-DE02-4FD3E5B882F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31881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1">
            <a:extLst>
              <a:ext uri="{FF2B5EF4-FFF2-40B4-BE49-F238E27FC236}">
                <a16:creationId xmlns:a16="http://schemas.microsoft.com/office/drawing/2014/main" id="{4DFFFBFA-2177-9363-AC06-18537EF375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FD171F81-9A0E-A6A8-DE02-4FD3E5B882F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596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28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28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28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28/08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28/08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28/08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28/08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28/08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28/08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28/08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28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28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28/08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28/08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28/08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28/08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28/08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28/08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28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notesSlide" Target="../notesSlides/notesSlide3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3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48F4020-4A0D-ABF8-F89D-E3E0AE01974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1766B2F9-A9D8-0442-C205-AE51253F929A}"/>
              </a:ext>
            </a:extLst>
          </p:cNvPr>
          <p:cNvGrpSpPr/>
          <p:nvPr/>
        </p:nvGrpSpPr>
        <p:grpSpPr>
          <a:xfrm>
            <a:off x="4378717" y="1673805"/>
            <a:ext cx="3928157" cy="3928157"/>
            <a:chOff x="5838290" y="1088740"/>
            <a:chExt cx="5237542" cy="5237542"/>
          </a:xfrm>
        </p:grpSpPr>
        <p:sp>
          <p:nvSpPr>
            <p:cNvPr id="6" name="Freeform: Shape 31">
              <a:extLst>
                <a:ext uri="{FF2B5EF4-FFF2-40B4-BE49-F238E27FC236}">
                  <a16:creationId xmlns:a16="http://schemas.microsoft.com/office/drawing/2014/main" id="{817A611F-D24B-A9F2-A514-C48D41FC18E6}"/>
                </a:ext>
              </a:extLst>
            </p:cNvPr>
            <p:cNvSpPr>
              <a:spLocks noChangeAspect="1"/>
            </p:cNvSpPr>
            <p:nvPr/>
          </p:nvSpPr>
          <p:spPr>
            <a:xfrm rot="7860000">
              <a:off x="5838290" y="2381992"/>
              <a:ext cx="5237542" cy="2651038"/>
            </a:xfrm>
            <a:custGeom>
              <a:avLst/>
              <a:gdLst>
                <a:gd name="connsiteX0" fmla="*/ 4094712 w 6337426"/>
                <a:gd name="connsiteY0" fmla="*/ 3207756 h 3207756"/>
                <a:gd name="connsiteX1" fmla="*/ 4272279 w 6337426"/>
                <a:gd name="connsiteY1" fmla="*/ 2978421 h 3207756"/>
                <a:gd name="connsiteX2" fmla="*/ 4621089 w 6337426"/>
                <a:gd name="connsiteY2" fmla="*/ 2442407 h 3207756"/>
                <a:gd name="connsiteX3" fmla="*/ 5297235 w 6337426"/>
                <a:gd name="connsiteY3" fmla="*/ 505371 h 3207756"/>
                <a:gd name="connsiteX4" fmla="*/ 5307513 w 6337426"/>
                <a:gd name="connsiteY4" fmla="*/ 369041 h 3207756"/>
                <a:gd name="connsiteX5" fmla="*/ 5409331 w 6337426"/>
                <a:gd name="connsiteY5" fmla="*/ 418018 h 3207756"/>
                <a:gd name="connsiteX6" fmla="*/ 6337426 w 6337426"/>
                <a:gd name="connsiteY6" fmla="*/ 1603878 h 3207756"/>
                <a:gd name="connsiteX7" fmla="*/ 4110991 w 6337426"/>
                <a:gd name="connsiteY7" fmla="*/ 3205541 h 3207756"/>
                <a:gd name="connsiteX8" fmla="*/ 249013 w 6337426"/>
                <a:gd name="connsiteY8" fmla="*/ 2256666 h 3207756"/>
                <a:gd name="connsiteX9" fmla="*/ 0 w 6337426"/>
                <a:gd name="connsiteY9" fmla="*/ 1603878 h 3207756"/>
                <a:gd name="connsiteX10" fmla="*/ 2226435 w 6337426"/>
                <a:gd name="connsiteY10" fmla="*/ 2215 h 3207756"/>
                <a:gd name="connsiteX11" fmla="*/ 2242713 w 6337426"/>
                <a:gd name="connsiteY11" fmla="*/ 0 h 3207756"/>
                <a:gd name="connsiteX12" fmla="*/ 2065147 w 6337426"/>
                <a:gd name="connsiteY12" fmla="*/ 229334 h 3207756"/>
                <a:gd name="connsiteX13" fmla="*/ 1716336 w 6337426"/>
                <a:gd name="connsiteY13" fmla="*/ 765348 h 3207756"/>
                <a:gd name="connsiteX14" fmla="*/ 1040191 w 6337426"/>
                <a:gd name="connsiteY14" fmla="*/ 2702384 h 3207756"/>
                <a:gd name="connsiteX15" fmla="*/ 1029912 w 6337426"/>
                <a:gd name="connsiteY15" fmla="*/ 2838715 h 3207756"/>
                <a:gd name="connsiteX16" fmla="*/ 928095 w 6337426"/>
                <a:gd name="connsiteY16" fmla="*/ 2789739 h 3207756"/>
                <a:gd name="connsiteX17" fmla="*/ 249013 w 6337426"/>
                <a:gd name="connsiteY17" fmla="*/ 2256666 h 320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7756">
                  <a:moveTo>
                    <a:pt x="4094712" y="3207756"/>
                  </a:moveTo>
                  <a:lnTo>
                    <a:pt x="4272279" y="2978421"/>
                  </a:lnTo>
                  <a:cubicBezTo>
                    <a:pt x="4394764" y="2810951"/>
                    <a:pt x="4511712" y="2631854"/>
                    <a:pt x="4621089" y="2442407"/>
                  </a:cubicBezTo>
                  <a:cubicBezTo>
                    <a:pt x="5003909" y="1779345"/>
                    <a:pt x="5230555" y="1099349"/>
                    <a:pt x="5297235" y="505371"/>
                  </a:cubicBezTo>
                  <a:lnTo>
                    <a:pt x="5307513" y="369041"/>
                  </a:lnTo>
                  <a:lnTo>
                    <a:pt x="5409331" y="418018"/>
                  </a:lnTo>
                  <a:cubicBezTo>
                    <a:pt x="5982755" y="721506"/>
                    <a:pt x="6337426" y="1140771"/>
                    <a:pt x="6337426" y="1603878"/>
                  </a:cubicBezTo>
                  <a:cubicBezTo>
                    <a:pt x="6337426" y="2356428"/>
                    <a:pt x="5400875" y="2993206"/>
                    <a:pt x="4110991" y="3205541"/>
                  </a:cubicBezTo>
                  <a:close/>
                  <a:moveTo>
                    <a:pt x="249013" y="2256666"/>
                  </a:moveTo>
                  <a:cubicBezTo>
                    <a:pt x="88668" y="2056025"/>
                    <a:pt x="0" y="1835432"/>
                    <a:pt x="0" y="1603878"/>
                  </a:cubicBezTo>
                  <a:cubicBezTo>
                    <a:pt x="0" y="851329"/>
                    <a:pt x="936551" y="214550"/>
                    <a:pt x="2226435" y="2215"/>
                  </a:cubicBezTo>
                  <a:lnTo>
                    <a:pt x="2242713" y="0"/>
                  </a:lnTo>
                  <a:lnTo>
                    <a:pt x="2065147" y="229334"/>
                  </a:lnTo>
                  <a:cubicBezTo>
                    <a:pt x="1942662" y="396804"/>
                    <a:pt x="1825713" y="575901"/>
                    <a:pt x="1716336" y="765348"/>
                  </a:cubicBezTo>
                  <a:cubicBezTo>
                    <a:pt x="1333517" y="1428410"/>
                    <a:pt x="1106871" y="2108406"/>
                    <a:pt x="1040191" y="2702384"/>
                  </a:cubicBezTo>
                  <a:lnTo>
                    <a:pt x="1029912" y="2838715"/>
                  </a:lnTo>
                  <a:lnTo>
                    <a:pt x="928095" y="2789739"/>
                  </a:lnTo>
                  <a:cubicBezTo>
                    <a:pt x="641382" y="2637995"/>
                    <a:pt x="409359" y="2457306"/>
                    <a:pt x="249013" y="225666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E77117DE-A16A-FD44-52ED-EF36F001A6FF}"/>
                </a:ext>
              </a:extLst>
            </p:cNvPr>
            <p:cNvSpPr>
              <a:spLocks noChangeAspect="1"/>
            </p:cNvSpPr>
            <p:nvPr/>
          </p:nvSpPr>
          <p:spPr>
            <a:xfrm rot="684917">
              <a:off x="5838290" y="2382801"/>
              <a:ext cx="5237542" cy="2649420"/>
            </a:xfrm>
            <a:custGeom>
              <a:avLst/>
              <a:gdLst>
                <a:gd name="connsiteX0" fmla="*/ 5297772 w 6337426"/>
                <a:gd name="connsiteY0" fmla="*/ 363376 h 3205798"/>
                <a:gd name="connsiteX1" fmla="*/ 5409332 w 6337426"/>
                <a:gd name="connsiteY1" fmla="*/ 417038 h 3205798"/>
                <a:gd name="connsiteX2" fmla="*/ 6337426 w 6337426"/>
                <a:gd name="connsiteY2" fmla="*/ 1602899 h 3205798"/>
                <a:gd name="connsiteX3" fmla="*/ 4110991 w 6337426"/>
                <a:gd name="connsiteY3" fmla="*/ 3204562 h 3205798"/>
                <a:gd name="connsiteX4" fmla="*/ 4101908 w 6337426"/>
                <a:gd name="connsiteY4" fmla="*/ 3205798 h 3205798"/>
                <a:gd name="connsiteX5" fmla="*/ 4282212 w 6337426"/>
                <a:gd name="connsiteY5" fmla="*/ 2969408 h 3205798"/>
                <a:gd name="connsiteX6" fmla="*/ 4627128 w 6337426"/>
                <a:gd name="connsiteY6" fmla="*/ 2430880 h 3205798"/>
                <a:gd name="connsiteX7" fmla="*/ 5289217 w 6337426"/>
                <a:gd name="connsiteY7" fmla="*/ 488994 h 3205798"/>
                <a:gd name="connsiteX8" fmla="*/ 1935307 w 6337426"/>
                <a:gd name="connsiteY8" fmla="*/ 57631 h 3205798"/>
                <a:gd name="connsiteX9" fmla="*/ 2226435 w 6337426"/>
                <a:gd name="connsiteY9" fmla="*/ 1236 h 3205798"/>
                <a:gd name="connsiteX10" fmla="*/ 2235517 w 6337426"/>
                <a:gd name="connsiteY10" fmla="*/ 0 h 3205798"/>
                <a:gd name="connsiteX11" fmla="*/ 2055213 w 6337426"/>
                <a:gd name="connsiteY11" fmla="*/ 236391 h 3205798"/>
                <a:gd name="connsiteX12" fmla="*/ 1710296 w 6337426"/>
                <a:gd name="connsiteY12" fmla="*/ 774918 h 3205798"/>
                <a:gd name="connsiteX13" fmla="*/ 1048208 w 6337426"/>
                <a:gd name="connsiteY13" fmla="*/ 2716805 h 3205798"/>
                <a:gd name="connsiteX14" fmla="*/ 1039653 w 6337426"/>
                <a:gd name="connsiteY14" fmla="*/ 2842421 h 3205798"/>
                <a:gd name="connsiteX15" fmla="*/ 928095 w 6337426"/>
                <a:gd name="connsiteY15" fmla="*/ 2788760 h 3205798"/>
                <a:gd name="connsiteX16" fmla="*/ 0 w 6337426"/>
                <a:gd name="connsiteY16" fmla="*/ 1602899 h 3205798"/>
                <a:gd name="connsiteX17" fmla="*/ 1935307 w 6337426"/>
                <a:gd name="connsiteY17" fmla="*/ 57631 h 3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5798">
                  <a:moveTo>
                    <a:pt x="5297772" y="363376"/>
                  </a:moveTo>
                  <a:lnTo>
                    <a:pt x="5409332" y="417038"/>
                  </a:lnTo>
                  <a:cubicBezTo>
                    <a:pt x="5982756" y="720526"/>
                    <a:pt x="6337426" y="1139791"/>
                    <a:pt x="6337426" y="1602899"/>
                  </a:cubicBezTo>
                  <a:cubicBezTo>
                    <a:pt x="6337426" y="2355449"/>
                    <a:pt x="5400875" y="2992227"/>
                    <a:pt x="4110991" y="3204562"/>
                  </a:cubicBezTo>
                  <a:lnTo>
                    <a:pt x="4101908" y="3205798"/>
                  </a:lnTo>
                  <a:lnTo>
                    <a:pt x="4282212" y="2969408"/>
                  </a:lnTo>
                  <a:cubicBezTo>
                    <a:pt x="4403480" y="2801055"/>
                    <a:pt x="4519127" y="2621115"/>
                    <a:pt x="4627128" y="2430880"/>
                  </a:cubicBezTo>
                  <a:cubicBezTo>
                    <a:pt x="5005132" y="1765060"/>
                    <a:pt x="5226843" y="1083440"/>
                    <a:pt x="5289217" y="488994"/>
                  </a:cubicBezTo>
                  <a:close/>
                  <a:moveTo>
                    <a:pt x="1935307" y="57631"/>
                  </a:moveTo>
                  <a:cubicBezTo>
                    <a:pt x="2030082" y="36415"/>
                    <a:pt x="2127213" y="17570"/>
                    <a:pt x="2226435" y="1236"/>
                  </a:cubicBezTo>
                  <a:lnTo>
                    <a:pt x="2235517" y="0"/>
                  </a:lnTo>
                  <a:lnTo>
                    <a:pt x="2055213" y="236391"/>
                  </a:lnTo>
                  <a:cubicBezTo>
                    <a:pt x="1933944" y="404744"/>
                    <a:pt x="1818297" y="584684"/>
                    <a:pt x="1710296" y="774918"/>
                  </a:cubicBezTo>
                  <a:cubicBezTo>
                    <a:pt x="1332293" y="1440739"/>
                    <a:pt x="1110581" y="2122359"/>
                    <a:pt x="1048208" y="2716805"/>
                  </a:cubicBezTo>
                  <a:lnTo>
                    <a:pt x="1039653" y="2842421"/>
                  </a:lnTo>
                  <a:lnTo>
                    <a:pt x="928095" y="2788760"/>
                  </a:lnTo>
                  <a:cubicBezTo>
                    <a:pt x="354670" y="2485272"/>
                    <a:pt x="0" y="2066007"/>
                    <a:pt x="0" y="1602899"/>
                  </a:cubicBezTo>
                  <a:cubicBezTo>
                    <a:pt x="0" y="908238"/>
                    <a:pt x="798008" y="312222"/>
                    <a:pt x="1935307" y="57631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B3121CF6-AF15-7CF2-0027-618033B16F68}"/>
                </a:ext>
              </a:extLst>
            </p:cNvPr>
            <p:cNvSpPr>
              <a:spLocks noChangeAspect="1"/>
            </p:cNvSpPr>
            <p:nvPr/>
          </p:nvSpPr>
          <p:spPr>
            <a:xfrm rot="4260000">
              <a:off x="5838290" y="2381185"/>
              <a:ext cx="5237542" cy="2652651"/>
            </a:xfrm>
            <a:custGeom>
              <a:avLst/>
              <a:gdLst>
                <a:gd name="connsiteX0" fmla="*/ 4087537 w 6337426"/>
                <a:gd name="connsiteY0" fmla="*/ 3209708 h 3209708"/>
                <a:gd name="connsiteX1" fmla="*/ 4262287 w 6337426"/>
                <a:gd name="connsiteY1" fmla="*/ 2987359 h 3209708"/>
                <a:gd name="connsiteX2" fmla="*/ 4614973 w 6337426"/>
                <a:gd name="connsiteY2" fmla="*/ 2453888 h 3209708"/>
                <a:gd name="connsiteX3" fmla="*/ 5305141 w 6337426"/>
                <a:gd name="connsiteY3" fmla="*/ 521803 h 3209708"/>
                <a:gd name="connsiteX4" fmla="*/ 5317302 w 6337426"/>
                <a:gd name="connsiteY4" fmla="*/ 374726 h 3209708"/>
                <a:gd name="connsiteX5" fmla="*/ 5409332 w 6337426"/>
                <a:gd name="connsiteY5" fmla="*/ 418993 h 3209708"/>
                <a:gd name="connsiteX6" fmla="*/ 6337426 w 6337426"/>
                <a:gd name="connsiteY6" fmla="*/ 1604854 h 3209708"/>
                <a:gd name="connsiteX7" fmla="*/ 4110991 w 6337426"/>
                <a:gd name="connsiteY7" fmla="*/ 3206516 h 3209708"/>
                <a:gd name="connsiteX8" fmla="*/ 64377 w 6337426"/>
                <a:gd name="connsiteY8" fmla="*/ 1266868 h 3209708"/>
                <a:gd name="connsiteX9" fmla="*/ 2226435 w 6337426"/>
                <a:gd name="connsiteY9" fmla="*/ 3191 h 3209708"/>
                <a:gd name="connsiteX10" fmla="*/ 2249888 w 6337426"/>
                <a:gd name="connsiteY10" fmla="*/ 0 h 3209708"/>
                <a:gd name="connsiteX11" fmla="*/ 2075138 w 6337426"/>
                <a:gd name="connsiteY11" fmla="*/ 222348 h 3209708"/>
                <a:gd name="connsiteX12" fmla="*/ 1722452 w 6337426"/>
                <a:gd name="connsiteY12" fmla="*/ 755819 h 3209708"/>
                <a:gd name="connsiteX13" fmla="*/ 1032284 w 6337426"/>
                <a:gd name="connsiteY13" fmla="*/ 2687904 h 3209708"/>
                <a:gd name="connsiteX14" fmla="*/ 1020123 w 6337426"/>
                <a:gd name="connsiteY14" fmla="*/ 2834982 h 3209708"/>
                <a:gd name="connsiteX15" fmla="*/ 928095 w 6337426"/>
                <a:gd name="connsiteY15" fmla="*/ 2790715 h 3209708"/>
                <a:gd name="connsiteX16" fmla="*/ 0 w 6337426"/>
                <a:gd name="connsiteY16" fmla="*/ 1604854 h 3209708"/>
                <a:gd name="connsiteX17" fmla="*/ 64377 w 6337426"/>
                <a:gd name="connsiteY17" fmla="*/ 1266868 h 32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9708">
                  <a:moveTo>
                    <a:pt x="4087537" y="3209708"/>
                  </a:moveTo>
                  <a:lnTo>
                    <a:pt x="4262287" y="2987359"/>
                  </a:lnTo>
                  <a:cubicBezTo>
                    <a:pt x="4385983" y="2820781"/>
                    <a:pt x="4504226" y="2642537"/>
                    <a:pt x="4614973" y="2453888"/>
                  </a:cubicBezTo>
                  <a:cubicBezTo>
                    <a:pt x="5002589" y="1793617"/>
                    <a:pt x="5234158" y="1115283"/>
                    <a:pt x="5305141" y="521803"/>
                  </a:cubicBezTo>
                  <a:lnTo>
                    <a:pt x="5317302" y="374726"/>
                  </a:lnTo>
                  <a:lnTo>
                    <a:pt x="5409332" y="418993"/>
                  </a:lnTo>
                  <a:cubicBezTo>
                    <a:pt x="5982756" y="722482"/>
                    <a:pt x="6337426" y="1141747"/>
                    <a:pt x="6337426" y="1604854"/>
                  </a:cubicBezTo>
                  <a:cubicBezTo>
                    <a:pt x="6337426" y="2357404"/>
                    <a:pt x="5400875" y="2994182"/>
                    <a:pt x="4110991" y="3206516"/>
                  </a:cubicBezTo>
                  <a:close/>
                  <a:moveTo>
                    <a:pt x="64377" y="1266868"/>
                  </a:moveTo>
                  <a:cubicBezTo>
                    <a:pt x="296533" y="666418"/>
                    <a:pt x="1134995" y="182859"/>
                    <a:pt x="2226435" y="3191"/>
                  </a:cubicBezTo>
                  <a:lnTo>
                    <a:pt x="2249888" y="0"/>
                  </a:lnTo>
                  <a:lnTo>
                    <a:pt x="2075138" y="222348"/>
                  </a:lnTo>
                  <a:cubicBezTo>
                    <a:pt x="1951443" y="388926"/>
                    <a:pt x="1833199" y="567170"/>
                    <a:pt x="1722452" y="755819"/>
                  </a:cubicBezTo>
                  <a:cubicBezTo>
                    <a:pt x="1334837" y="1416090"/>
                    <a:pt x="1103268" y="2094425"/>
                    <a:pt x="1032284" y="2687904"/>
                  </a:cubicBezTo>
                  <a:lnTo>
                    <a:pt x="1020123" y="2834982"/>
                  </a:lnTo>
                  <a:lnTo>
                    <a:pt x="928095" y="2790715"/>
                  </a:lnTo>
                  <a:cubicBezTo>
                    <a:pt x="354670" y="2487226"/>
                    <a:pt x="0" y="2067961"/>
                    <a:pt x="0" y="1604854"/>
                  </a:cubicBezTo>
                  <a:cubicBezTo>
                    <a:pt x="0" y="1489077"/>
                    <a:pt x="22167" y="1376040"/>
                    <a:pt x="64377" y="1266868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ederal_Govern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A2350B-DF58-9EEE-4BBF-D8DE544C794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929139" y="3168641"/>
            <a:ext cx="871002" cy="872858"/>
            <a:chOff x="8" y="8"/>
            <a:chExt cx="470" cy="471"/>
          </a:xfrm>
          <a:solidFill>
            <a:srgbClr val="7F7F7F"/>
          </a:solidFill>
        </p:grpSpPr>
        <p:sp>
          <p:nvSpPr>
            <p:cNvPr id="10" name="Federal_Government">
              <a:extLst>
                <a:ext uri="{FF2B5EF4-FFF2-40B4-BE49-F238E27FC236}">
                  <a16:creationId xmlns:a16="http://schemas.microsoft.com/office/drawing/2014/main" id="{7442E5CA-81A2-130B-7740-C69E4B80F6F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ederal_Government">
              <a:extLst>
                <a:ext uri="{FF2B5EF4-FFF2-40B4-BE49-F238E27FC236}">
                  <a16:creationId xmlns:a16="http://schemas.microsoft.com/office/drawing/2014/main" id="{3A2651A7-A732-0D0F-0B6B-5339246696E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ederal_Government">
              <a:extLst>
                <a:ext uri="{FF2B5EF4-FFF2-40B4-BE49-F238E27FC236}">
                  <a16:creationId xmlns:a16="http://schemas.microsoft.com/office/drawing/2014/main" id="{783AC9CE-A6D9-11DB-F5EA-10037A58F8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ederal_Government">
              <a:extLst>
                <a:ext uri="{FF2B5EF4-FFF2-40B4-BE49-F238E27FC236}">
                  <a16:creationId xmlns:a16="http://schemas.microsoft.com/office/drawing/2014/main" id="{AEF892F4-8AC9-43CC-AD94-57429791DB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ederal_Government">
              <a:extLst>
                <a:ext uri="{FF2B5EF4-FFF2-40B4-BE49-F238E27FC236}">
                  <a16:creationId xmlns:a16="http://schemas.microsoft.com/office/drawing/2014/main" id="{6487A5B0-A272-0A12-0540-510A790DE3F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ederal_Government">
              <a:extLst>
                <a:ext uri="{FF2B5EF4-FFF2-40B4-BE49-F238E27FC236}">
                  <a16:creationId xmlns:a16="http://schemas.microsoft.com/office/drawing/2014/main" id="{DB9B0FAE-6121-3041-414B-87FAE5510D5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56" name="Agrupar 22555">
            <a:extLst>
              <a:ext uri="{FF2B5EF4-FFF2-40B4-BE49-F238E27FC236}">
                <a16:creationId xmlns:a16="http://schemas.microsoft.com/office/drawing/2014/main" id="{CA705E00-DAFA-ECE0-AEB0-EB9DA843DCB4}"/>
              </a:ext>
            </a:extLst>
          </p:cNvPr>
          <p:cNvGrpSpPr/>
          <p:nvPr/>
        </p:nvGrpSpPr>
        <p:grpSpPr>
          <a:xfrm>
            <a:off x="654414" y="980728"/>
            <a:ext cx="3755062" cy="1489318"/>
            <a:chOff x="654414" y="1412776"/>
            <a:chExt cx="3755062" cy="1489318"/>
          </a:xfrm>
        </p:grpSpPr>
        <p:sp>
          <p:nvSpPr>
            <p:cNvPr id="16" name="TextBox 7">
              <a:extLst>
                <a:ext uri="{FF2B5EF4-FFF2-40B4-BE49-F238E27FC236}">
                  <a16:creationId xmlns:a16="http://schemas.microsoft.com/office/drawing/2014/main" id="{7B53A3B8-3BBD-4C56-D915-DA2B8ECFE5E5}"/>
                </a:ext>
              </a:extLst>
            </p:cNvPr>
            <p:cNvSpPr txBox="1"/>
            <p:nvPr/>
          </p:nvSpPr>
          <p:spPr>
            <a:xfrm>
              <a:off x="1215899" y="1412776"/>
              <a:ext cx="3193577" cy="148931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Utilizado para representar um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cenário</a:t>
              </a:r>
              <a:r>
                <a:rPr lang="pt-BR" altLang="pt-BR" sz="2400" dirty="0">
                  <a:latin typeface="Gotham HTF"/>
                </a:rPr>
                <a:t>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para um determinado caso de uso.</a:t>
              </a:r>
            </a:p>
          </p:txBody>
        </p:sp>
        <p:sp>
          <p:nvSpPr>
            <p:cNvPr id="17" name="Rectangle 51">
              <a:extLst>
                <a:ext uri="{FF2B5EF4-FFF2-40B4-BE49-F238E27FC236}">
                  <a16:creationId xmlns:a16="http://schemas.microsoft.com/office/drawing/2014/main" id="{9B106413-BFA5-B4BC-9B6D-694221FE29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4" y="1667982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4472C4"/>
                  </a:solidFill>
                  <a:latin typeface="Calibri" panose="020F0502020204030204"/>
                </a:rPr>
                <a:t>1</a:t>
              </a:r>
            </a:p>
          </p:txBody>
        </p:sp>
      </p:grpSp>
      <p:grpSp>
        <p:nvGrpSpPr>
          <p:cNvPr id="22" name="Competi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D0670C8-3E54-5FC4-C726-E121553C8077}"/>
              </a:ext>
            </a:extLst>
          </p:cNvPr>
          <p:cNvGrpSpPr>
            <a:grpSpLocks noChangeAspect="1"/>
          </p:cNvGrpSpPr>
          <p:nvPr/>
        </p:nvGrpSpPr>
        <p:grpSpPr>
          <a:xfrm>
            <a:off x="5091837" y="4550564"/>
            <a:ext cx="475493" cy="322748"/>
            <a:chOff x="4151313" y="1438275"/>
            <a:chExt cx="874713" cy="593725"/>
          </a:xfrm>
        </p:grpSpPr>
        <p:sp>
          <p:nvSpPr>
            <p:cNvPr id="23" name="Oval 2290">
              <a:extLst>
                <a:ext uri="{FF2B5EF4-FFF2-40B4-BE49-F238E27FC236}">
                  <a16:creationId xmlns:a16="http://schemas.microsoft.com/office/drawing/2014/main" id="{447E086C-0229-C044-F3D3-3BB5C961F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63" y="1438275"/>
              <a:ext cx="98425" cy="98425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val 2293">
              <a:extLst>
                <a:ext uri="{FF2B5EF4-FFF2-40B4-BE49-F238E27FC236}">
                  <a16:creationId xmlns:a16="http://schemas.microsoft.com/office/drawing/2014/main" id="{AFEFBCD1-E299-5427-82AE-9BD5D6EC4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295">
              <a:extLst>
                <a:ext uri="{FF2B5EF4-FFF2-40B4-BE49-F238E27FC236}">
                  <a16:creationId xmlns:a16="http://schemas.microsoft.com/office/drawing/2014/main" id="{60702C78-2149-58B6-49BD-88EE0A3BB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1568450"/>
              <a:ext cx="509588" cy="463550"/>
            </a:xfrm>
            <a:custGeom>
              <a:avLst/>
              <a:gdLst>
                <a:gd name="T0" fmla="*/ 251 w 457"/>
                <a:gd name="T1" fmla="*/ 185 h 416"/>
                <a:gd name="T2" fmla="*/ 289 w 457"/>
                <a:gd name="T3" fmla="*/ 86 h 416"/>
                <a:gd name="T4" fmla="*/ 326 w 457"/>
                <a:gd name="T5" fmla="*/ 135 h 416"/>
                <a:gd name="T6" fmla="*/ 346 w 457"/>
                <a:gd name="T7" fmla="*/ 145 h 416"/>
                <a:gd name="T8" fmla="*/ 352 w 457"/>
                <a:gd name="T9" fmla="*/ 144 h 416"/>
                <a:gd name="T10" fmla="*/ 434 w 457"/>
                <a:gd name="T11" fmla="*/ 126 h 416"/>
                <a:gd name="T12" fmla="*/ 456 w 457"/>
                <a:gd name="T13" fmla="*/ 100 h 416"/>
                <a:gd name="T14" fmla="*/ 425 w 457"/>
                <a:gd name="T15" fmla="*/ 76 h 416"/>
                <a:gd name="T16" fmla="*/ 357 w 457"/>
                <a:gd name="T17" fmla="*/ 91 h 416"/>
                <a:gd name="T18" fmla="*/ 306 w 457"/>
                <a:gd name="T19" fmla="*/ 23 h 416"/>
                <a:gd name="T20" fmla="*/ 259 w 457"/>
                <a:gd name="T21" fmla="*/ 0 h 416"/>
                <a:gd name="T22" fmla="*/ 144 w 457"/>
                <a:gd name="T23" fmla="*/ 0 h 416"/>
                <a:gd name="T24" fmla="*/ 121 w 457"/>
                <a:gd name="T25" fmla="*/ 13 h 416"/>
                <a:gd name="T26" fmla="*/ 79 w 457"/>
                <a:gd name="T27" fmla="*/ 105 h 416"/>
                <a:gd name="T28" fmla="*/ 88 w 457"/>
                <a:gd name="T29" fmla="*/ 139 h 416"/>
                <a:gd name="T30" fmla="*/ 101 w 457"/>
                <a:gd name="T31" fmla="*/ 143 h 416"/>
                <a:gd name="T32" fmla="*/ 123 w 457"/>
                <a:gd name="T33" fmla="*/ 130 h 416"/>
                <a:gd name="T34" fmla="*/ 159 w 457"/>
                <a:gd name="T35" fmla="*/ 52 h 416"/>
                <a:gd name="T36" fmla="*/ 211 w 457"/>
                <a:gd name="T37" fmla="*/ 52 h 416"/>
                <a:gd name="T38" fmla="*/ 130 w 457"/>
                <a:gd name="T39" fmla="*/ 266 h 416"/>
                <a:gd name="T40" fmla="*/ 26 w 457"/>
                <a:gd name="T41" fmla="*/ 266 h 416"/>
                <a:gd name="T42" fmla="*/ 0 w 457"/>
                <a:gd name="T43" fmla="*/ 291 h 416"/>
                <a:gd name="T44" fmla="*/ 26 w 457"/>
                <a:gd name="T45" fmla="*/ 317 h 416"/>
                <a:gd name="T46" fmla="*/ 157 w 457"/>
                <a:gd name="T47" fmla="*/ 317 h 416"/>
                <a:gd name="T48" fmla="*/ 181 w 457"/>
                <a:gd name="T49" fmla="*/ 300 h 416"/>
                <a:gd name="T50" fmla="*/ 209 w 457"/>
                <a:gd name="T51" fmla="*/ 228 h 416"/>
                <a:gd name="T52" fmla="*/ 286 w 457"/>
                <a:gd name="T53" fmla="*/ 295 h 416"/>
                <a:gd name="T54" fmla="*/ 323 w 457"/>
                <a:gd name="T55" fmla="*/ 399 h 416"/>
                <a:gd name="T56" fmla="*/ 347 w 457"/>
                <a:gd name="T57" fmla="*/ 416 h 416"/>
                <a:gd name="T58" fmla="*/ 355 w 457"/>
                <a:gd name="T59" fmla="*/ 415 h 416"/>
                <a:gd name="T60" fmla="*/ 371 w 457"/>
                <a:gd name="T61" fmla="*/ 382 h 416"/>
                <a:gd name="T62" fmla="*/ 326 w 457"/>
                <a:gd name="T63" fmla="*/ 255 h 416"/>
                <a:gd name="T64" fmla="*/ 319 w 457"/>
                <a:gd name="T65" fmla="*/ 244 h 416"/>
                <a:gd name="T66" fmla="*/ 251 w 457"/>
                <a:gd name="T67" fmla="*/ 18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7" h="416">
                  <a:moveTo>
                    <a:pt x="251" y="185"/>
                  </a:moveTo>
                  <a:lnTo>
                    <a:pt x="289" y="86"/>
                  </a:lnTo>
                  <a:lnTo>
                    <a:pt x="326" y="135"/>
                  </a:lnTo>
                  <a:cubicBezTo>
                    <a:pt x="331" y="141"/>
                    <a:pt x="338" y="145"/>
                    <a:pt x="346" y="145"/>
                  </a:cubicBezTo>
                  <a:cubicBezTo>
                    <a:pt x="348" y="145"/>
                    <a:pt x="350" y="145"/>
                    <a:pt x="352" y="144"/>
                  </a:cubicBezTo>
                  <a:lnTo>
                    <a:pt x="434" y="126"/>
                  </a:lnTo>
                  <a:cubicBezTo>
                    <a:pt x="447" y="124"/>
                    <a:pt x="457" y="113"/>
                    <a:pt x="456" y="100"/>
                  </a:cubicBezTo>
                  <a:cubicBezTo>
                    <a:pt x="455" y="84"/>
                    <a:pt x="440" y="73"/>
                    <a:pt x="425" y="76"/>
                  </a:cubicBezTo>
                  <a:lnTo>
                    <a:pt x="357" y="91"/>
                  </a:lnTo>
                  <a:lnTo>
                    <a:pt x="306" y="23"/>
                  </a:lnTo>
                  <a:cubicBezTo>
                    <a:pt x="295" y="9"/>
                    <a:pt x="278" y="0"/>
                    <a:pt x="259" y="0"/>
                  </a:cubicBezTo>
                  <a:lnTo>
                    <a:pt x="144" y="0"/>
                  </a:lnTo>
                  <a:cubicBezTo>
                    <a:pt x="135" y="0"/>
                    <a:pt x="126" y="5"/>
                    <a:pt x="121" y="13"/>
                  </a:cubicBezTo>
                  <a:lnTo>
                    <a:pt x="79" y="105"/>
                  </a:lnTo>
                  <a:cubicBezTo>
                    <a:pt x="72" y="117"/>
                    <a:pt x="76" y="133"/>
                    <a:pt x="88" y="139"/>
                  </a:cubicBezTo>
                  <a:cubicBezTo>
                    <a:pt x="92" y="142"/>
                    <a:pt x="97" y="143"/>
                    <a:pt x="101" y="143"/>
                  </a:cubicBezTo>
                  <a:cubicBezTo>
                    <a:pt x="110" y="143"/>
                    <a:pt x="119" y="138"/>
                    <a:pt x="123" y="130"/>
                  </a:cubicBezTo>
                  <a:lnTo>
                    <a:pt x="159" y="52"/>
                  </a:lnTo>
                  <a:lnTo>
                    <a:pt x="211" y="52"/>
                  </a:lnTo>
                  <a:lnTo>
                    <a:pt x="130" y="266"/>
                  </a:lnTo>
                  <a:lnTo>
                    <a:pt x="26" y="266"/>
                  </a:lnTo>
                  <a:cubicBezTo>
                    <a:pt x="12" y="266"/>
                    <a:pt x="0" y="277"/>
                    <a:pt x="0" y="291"/>
                  </a:cubicBezTo>
                  <a:cubicBezTo>
                    <a:pt x="0" y="306"/>
                    <a:pt x="12" y="317"/>
                    <a:pt x="26" y="317"/>
                  </a:cubicBezTo>
                  <a:lnTo>
                    <a:pt x="157" y="317"/>
                  </a:lnTo>
                  <a:cubicBezTo>
                    <a:pt x="167" y="317"/>
                    <a:pt x="177" y="310"/>
                    <a:pt x="181" y="300"/>
                  </a:cubicBezTo>
                  <a:lnTo>
                    <a:pt x="209" y="228"/>
                  </a:lnTo>
                  <a:lnTo>
                    <a:pt x="286" y="295"/>
                  </a:lnTo>
                  <a:lnTo>
                    <a:pt x="323" y="399"/>
                  </a:lnTo>
                  <a:cubicBezTo>
                    <a:pt x="326" y="410"/>
                    <a:pt x="336" y="416"/>
                    <a:pt x="347" y="416"/>
                  </a:cubicBezTo>
                  <a:cubicBezTo>
                    <a:pt x="350" y="416"/>
                    <a:pt x="352" y="416"/>
                    <a:pt x="355" y="415"/>
                  </a:cubicBezTo>
                  <a:cubicBezTo>
                    <a:pt x="368" y="410"/>
                    <a:pt x="376" y="396"/>
                    <a:pt x="371" y="382"/>
                  </a:cubicBezTo>
                  <a:lnTo>
                    <a:pt x="326" y="255"/>
                  </a:lnTo>
                  <a:cubicBezTo>
                    <a:pt x="325" y="251"/>
                    <a:pt x="322" y="247"/>
                    <a:pt x="319" y="244"/>
                  </a:cubicBezTo>
                  <a:lnTo>
                    <a:pt x="251" y="185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60">
              <a:extLst>
                <a:ext uri="{FF2B5EF4-FFF2-40B4-BE49-F238E27FC236}">
                  <a16:creationId xmlns:a16="http://schemas.microsoft.com/office/drawing/2014/main" id="{1F2C18FF-4DD5-904D-73DC-0ED8A6D9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1566863"/>
              <a:ext cx="800649" cy="465137"/>
            </a:xfrm>
            <a:custGeom>
              <a:avLst/>
              <a:gdLst>
                <a:gd name="connsiteX0" fmla="*/ 469397 w 800649"/>
                <a:gd name="connsiteY0" fmla="*/ 59531 h 465137"/>
                <a:gd name="connsiteX1" fmla="*/ 457836 w 800649"/>
                <a:gd name="connsiteY1" fmla="*/ 84561 h 465137"/>
                <a:gd name="connsiteX2" fmla="*/ 467092 w 800649"/>
                <a:gd name="connsiteY2" fmla="*/ 82519 h 465137"/>
                <a:gd name="connsiteX3" fmla="*/ 500535 w 800649"/>
                <a:gd name="connsiteY3" fmla="*/ 109282 h 465137"/>
                <a:gd name="connsiteX4" fmla="*/ 477125 w 800649"/>
                <a:gd name="connsiteY4" fmla="*/ 138275 h 465137"/>
                <a:gd name="connsiteX5" fmla="*/ 427146 w 800649"/>
                <a:gd name="connsiteY5" fmla="*/ 148640 h 465137"/>
                <a:gd name="connsiteX6" fmla="*/ 419079 w 800649"/>
                <a:gd name="connsiteY6" fmla="*/ 157032 h 465137"/>
                <a:gd name="connsiteX7" fmla="*/ 404723 w 800649"/>
                <a:gd name="connsiteY7" fmla="*/ 160932 h 465137"/>
                <a:gd name="connsiteX8" fmla="*/ 390227 w 800649"/>
                <a:gd name="connsiteY8" fmla="*/ 156475 h 465137"/>
                <a:gd name="connsiteX9" fmla="*/ 390106 w 800649"/>
                <a:gd name="connsiteY9" fmla="*/ 156321 h 465137"/>
                <a:gd name="connsiteX10" fmla="*/ 385713 w 800649"/>
                <a:gd name="connsiteY10" fmla="*/ 157232 h 465137"/>
                <a:gd name="connsiteX11" fmla="*/ 380139 w 800649"/>
                <a:gd name="connsiteY11" fmla="*/ 158347 h 465137"/>
                <a:gd name="connsiteX12" fmla="*/ 357844 w 800649"/>
                <a:gd name="connsiteY12" fmla="*/ 147196 h 465137"/>
                <a:gd name="connsiteX13" fmla="*/ 316597 w 800649"/>
                <a:gd name="connsiteY13" fmla="*/ 93670 h 465137"/>
                <a:gd name="connsiteX14" fmla="*/ 275350 w 800649"/>
                <a:gd name="connsiteY14" fmla="*/ 202952 h 465137"/>
                <a:gd name="connsiteX15" fmla="*/ 350040 w 800649"/>
                <a:gd name="connsiteY15" fmla="*/ 267629 h 465137"/>
                <a:gd name="connsiteX16" fmla="*/ 357844 w 800649"/>
                <a:gd name="connsiteY16" fmla="*/ 279896 h 465137"/>
                <a:gd name="connsiteX17" fmla="*/ 364212 w 800649"/>
                <a:gd name="connsiteY17" fmla="*/ 297992 h 465137"/>
                <a:gd name="connsiteX18" fmla="*/ 437060 w 800649"/>
                <a:gd name="connsiteY18" fmla="*/ 297992 h 465137"/>
                <a:gd name="connsiteX19" fmla="*/ 527380 w 800649"/>
                <a:gd name="connsiteY19" fmla="*/ 59531 h 465137"/>
                <a:gd name="connsiteX20" fmla="*/ 157183 w 800649"/>
                <a:gd name="connsiteY20" fmla="*/ 0 h 465137"/>
                <a:gd name="connsiteX21" fmla="*/ 284268 w 800649"/>
                <a:gd name="connsiteY21" fmla="*/ 0 h 465137"/>
                <a:gd name="connsiteX22" fmla="*/ 335548 w 800649"/>
                <a:gd name="connsiteY22" fmla="*/ 24533 h 465137"/>
                <a:gd name="connsiteX23" fmla="*/ 389886 w 800649"/>
                <a:gd name="connsiteY23" fmla="*/ 97367 h 465137"/>
                <a:gd name="connsiteX24" fmla="*/ 427024 w 800649"/>
                <a:gd name="connsiteY24" fmla="*/ 16073 h 465137"/>
                <a:gd name="connsiteX25" fmla="*/ 452671 w 800649"/>
                <a:gd name="connsiteY25" fmla="*/ 1587 h 465137"/>
                <a:gd name="connsiteX26" fmla="*/ 580904 w 800649"/>
                <a:gd name="connsiteY26" fmla="*/ 1587 h 465137"/>
                <a:gd name="connsiteX27" fmla="*/ 633312 w 800649"/>
                <a:gd name="connsiteY27" fmla="*/ 27216 h 465137"/>
                <a:gd name="connsiteX28" fmla="*/ 690181 w 800649"/>
                <a:gd name="connsiteY28" fmla="*/ 102989 h 465137"/>
                <a:gd name="connsiteX29" fmla="*/ 766006 w 800649"/>
                <a:gd name="connsiteY29" fmla="*/ 86274 h 465137"/>
                <a:gd name="connsiteX30" fmla="*/ 800573 w 800649"/>
                <a:gd name="connsiteY30" fmla="*/ 113017 h 465137"/>
                <a:gd name="connsiteX31" fmla="*/ 776042 w 800649"/>
                <a:gd name="connsiteY31" fmla="*/ 141989 h 465137"/>
                <a:gd name="connsiteX32" fmla="*/ 684606 w 800649"/>
                <a:gd name="connsiteY32" fmla="*/ 162047 h 465137"/>
                <a:gd name="connsiteX33" fmla="*/ 677915 w 800649"/>
                <a:gd name="connsiteY33" fmla="*/ 163161 h 465137"/>
                <a:gd name="connsiteX34" fmla="*/ 655614 w 800649"/>
                <a:gd name="connsiteY34" fmla="*/ 152018 h 465137"/>
                <a:gd name="connsiteX35" fmla="*/ 614356 w 800649"/>
                <a:gd name="connsiteY35" fmla="*/ 97417 h 465137"/>
                <a:gd name="connsiteX36" fmla="*/ 571983 w 800649"/>
                <a:gd name="connsiteY36" fmla="*/ 207733 h 465137"/>
                <a:gd name="connsiteX37" fmla="*/ 647808 w 800649"/>
                <a:gd name="connsiteY37" fmla="*/ 273477 h 465137"/>
                <a:gd name="connsiteX38" fmla="*/ 655614 w 800649"/>
                <a:gd name="connsiteY38" fmla="*/ 285734 h 465137"/>
                <a:gd name="connsiteX39" fmla="*/ 705792 w 800649"/>
                <a:gd name="connsiteY39" fmla="*/ 427251 h 465137"/>
                <a:gd name="connsiteX40" fmla="*/ 687951 w 800649"/>
                <a:gd name="connsiteY40" fmla="*/ 464023 h 465137"/>
                <a:gd name="connsiteX41" fmla="*/ 679030 w 800649"/>
                <a:gd name="connsiteY41" fmla="*/ 465137 h 465137"/>
                <a:gd name="connsiteX42" fmla="*/ 652269 w 800649"/>
                <a:gd name="connsiteY42" fmla="*/ 446194 h 465137"/>
                <a:gd name="connsiteX43" fmla="*/ 611011 w 800649"/>
                <a:gd name="connsiteY43" fmla="*/ 330306 h 465137"/>
                <a:gd name="connsiteX44" fmla="*/ 525150 w 800649"/>
                <a:gd name="connsiteY44" fmla="*/ 255648 h 465137"/>
                <a:gd name="connsiteX45" fmla="*/ 493928 w 800649"/>
                <a:gd name="connsiteY45" fmla="*/ 335878 h 465137"/>
                <a:gd name="connsiteX46" fmla="*/ 467167 w 800649"/>
                <a:gd name="connsiteY46" fmla="*/ 354821 h 465137"/>
                <a:gd name="connsiteX47" fmla="*/ 384209 w 800649"/>
                <a:gd name="connsiteY47" fmla="*/ 354821 h 465137"/>
                <a:gd name="connsiteX48" fmla="*/ 406894 w 800649"/>
                <a:gd name="connsiteY48" fmla="*/ 419286 h 465137"/>
                <a:gd name="connsiteX49" fmla="*/ 390172 w 800649"/>
                <a:gd name="connsiteY49" fmla="*/ 456085 h 465137"/>
                <a:gd name="connsiteX50" fmla="*/ 381254 w 800649"/>
                <a:gd name="connsiteY50" fmla="*/ 457200 h 465137"/>
                <a:gd name="connsiteX51" fmla="*/ 354500 w 800649"/>
                <a:gd name="connsiteY51" fmla="*/ 438243 h 465137"/>
                <a:gd name="connsiteX52" fmla="*/ 325352 w 800649"/>
                <a:gd name="connsiteY52" fmla="*/ 354821 h 465137"/>
                <a:gd name="connsiteX53" fmla="*/ 321092 w 800649"/>
                <a:gd name="connsiteY53" fmla="*/ 354821 h 465137"/>
                <a:gd name="connsiteX54" fmla="*/ 292100 w 800649"/>
                <a:gd name="connsiteY54" fmla="*/ 325849 h 465137"/>
                <a:gd name="connsiteX55" fmla="*/ 298952 w 800649"/>
                <a:gd name="connsiteY55" fmla="*/ 310168 h 465137"/>
                <a:gd name="connsiteX56" fmla="*/ 228529 w 800649"/>
                <a:gd name="connsiteY56" fmla="*/ 249787 h 465137"/>
                <a:gd name="connsiteX57" fmla="*/ 198430 w 800649"/>
                <a:gd name="connsiteY57" fmla="*/ 330076 h 465137"/>
                <a:gd name="connsiteX58" fmla="*/ 171676 w 800649"/>
                <a:gd name="connsiteY58" fmla="*/ 347918 h 465137"/>
                <a:gd name="connsiteX59" fmla="*/ 27869 w 800649"/>
                <a:gd name="connsiteY59" fmla="*/ 347918 h 465137"/>
                <a:gd name="connsiteX60" fmla="*/ 0 w 800649"/>
                <a:gd name="connsiteY60" fmla="*/ 320040 h 465137"/>
                <a:gd name="connsiteX61" fmla="*/ 27869 w 800649"/>
                <a:gd name="connsiteY61" fmla="*/ 292162 h 465137"/>
                <a:gd name="connsiteX62" fmla="*/ 141577 w 800649"/>
                <a:gd name="connsiteY62" fmla="*/ 292162 h 465137"/>
                <a:gd name="connsiteX63" fmla="*/ 230759 w 800649"/>
                <a:gd name="connsiteY63" fmla="*/ 55756 h 465137"/>
                <a:gd name="connsiteX64" fmla="*/ 173905 w 800649"/>
                <a:gd name="connsiteY64" fmla="*/ 55756 h 465137"/>
                <a:gd name="connsiteX65" fmla="*/ 134888 w 800649"/>
                <a:gd name="connsiteY65" fmla="*/ 141621 h 465137"/>
                <a:gd name="connsiteX66" fmla="*/ 110363 w 800649"/>
                <a:gd name="connsiteY66" fmla="*/ 156117 h 465137"/>
                <a:gd name="connsiteX67" fmla="*/ 96985 w 800649"/>
                <a:gd name="connsiteY67" fmla="*/ 152772 h 465137"/>
                <a:gd name="connsiteX68" fmla="*/ 85838 w 800649"/>
                <a:gd name="connsiteY68" fmla="*/ 114858 h 465137"/>
                <a:gd name="connsiteX69" fmla="*/ 132658 w 800649"/>
                <a:gd name="connsiteY69" fmla="*/ 14497 h 465137"/>
                <a:gd name="connsiteX70" fmla="*/ 157183 w 800649"/>
                <a:gd name="connsiteY70" fmla="*/ 0 h 4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00649" h="465137">
                  <a:moveTo>
                    <a:pt x="469397" y="59531"/>
                  </a:moveTo>
                  <a:lnTo>
                    <a:pt x="457836" y="84561"/>
                  </a:lnTo>
                  <a:lnTo>
                    <a:pt x="467092" y="82519"/>
                  </a:lnTo>
                  <a:cubicBezTo>
                    <a:pt x="483814" y="79174"/>
                    <a:pt x="499421" y="91440"/>
                    <a:pt x="500535" y="109282"/>
                  </a:cubicBezTo>
                  <a:cubicBezTo>
                    <a:pt x="501650" y="122663"/>
                    <a:pt x="490502" y="134930"/>
                    <a:pt x="477125" y="138275"/>
                  </a:cubicBezTo>
                  <a:lnTo>
                    <a:pt x="427146" y="148640"/>
                  </a:lnTo>
                  <a:lnTo>
                    <a:pt x="419079" y="157032"/>
                  </a:lnTo>
                  <a:cubicBezTo>
                    <a:pt x="414758" y="159539"/>
                    <a:pt x="409741" y="160932"/>
                    <a:pt x="404723" y="160932"/>
                  </a:cubicBezTo>
                  <a:cubicBezTo>
                    <a:pt x="400262" y="160932"/>
                    <a:pt x="394687" y="159818"/>
                    <a:pt x="390227" y="156475"/>
                  </a:cubicBezTo>
                  <a:lnTo>
                    <a:pt x="390106" y="156321"/>
                  </a:lnTo>
                  <a:lnTo>
                    <a:pt x="385713" y="157232"/>
                  </a:lnTo>
                  <a:cubicBezTo>
                    <a:pt x="384599" y="158347"/>
                    <a:pt x="382369" y="158347"/>
                    <a:pt x="380139" y="158347"/>
                  </a:cubicBezTo>
                  <a:cubicBezTo>
                    <a:pt x="371221" y="158347"/>
                    <a:pt x="363418" y="153887"/>
                    <a:pt x="357844" y="147196"/>
                  </a:cubicBezTo>
                  <a:lnTo>
                    <a:pt x="316597" y="93670"/>
                  </a:lnTo>
                  <a:lnTo>
                    <a:pt x="275350" y="202952"/>
                  </a:lnTo>
                  <a:lnTo>
                    <a:pt x="350040" y="267629"/>
                  </a:lnTo>
                  <a:cubicBezTo>
                    <a:pt x="353385" y="270975"/>
                    <a:pt x="356729" y="275435"/>
                    <a:pt x="357844" y="279896"/>
                  </a:cubicBezTo>
                  <a:lnTo>
                    <a:pt x="364212" y="297992"/>
                  </a:lnTo>
                  <a:lnTo>
                    <a:pt x="437060" y="297992"/>
                  </a:lnTo>
                  <a:lnTo>
                    <a:pt x="527380" y="59531"/>
                  </a:lnTo>
                  <a:close/>
                  <a:moveTo>
                    <a:pt x="157183" y="0"/>
                  </a:moveTo>
                  <a:lnTo>
                    <a:pt x="284268" y="0"/>
                  </a:lnTo>
                  <a:cubicBezTo>
                    <a:pt x="304335" y="0"/>
                    <a:pt x="323286" y="8921"/>
                    <a:pt x="335548" y="24533"/>
                  </a:cubicBezTo>
                  <a:lnTo>
                    <a:pt x="389886" y="97367"/>
                  </a:lnTo>
                  <a:lnTo>
                    <a:pt x="427024" y="16073"/>
                  </a:lnTo>
                  <a:cubicBezTo>
                    <a:pt x="432599" y="7159"/>
                    <a:pt x="442635" y="1587"/>
                    <a:pt x="452671" y="1587"/>
                  </a:cubicBezTo>
                  <a:lnTo>
                    <a:pt x="580904" y="1587"/>
                  </a:lnTo>
                  <a:cubicBezTo>
                    <a:pt x="602090" y="1587"/>
                    <a:pt x="621047" y="11616"/>
                    <a:pt x="633312" y="27216"/>
                  </a:cubicBezTo>
                  <a:lnTo>
                    <a:pt x="690181" y="102989"/>
                  </a:lnTo>
                  <a:lnTo>
                    <a:pt x="766006" y="86274"/>
                  </a:lnTo>
                  <a:cubicBezTo>
                    <a:pt x="782732" y="82931"/>
                    <a:pt x="799458" y="95189"/>
                    <a:pt x="800573" y="113017"/>
                  </a:cubicBezTo>
                  <a:cubicBezTo>
                    <a:pt x="801688" y="127503"/>
                    <a:pt x="790538" y="139761"/>
                    <a:pt x="776042" y="141989"/>
                  </a:cubicBezTo>
                  <a:lnTo>
                    <a:pt x="684606" y="162047"/>
                  </a:lnTo>
                  <a:cubicBezTo>
                    <a:pt x="682376" y="163161"/>
                    <a:pt x="680145" y="163161"/>
                    <a:pt x="677915" y="163161"/>
                  </a:cubicBezTo>
                  <a:cubicBezTo>
                    <a:pt x="668995" y="163161"/>
                    <a:pt x="661189" y="158704"/>
                    <a:pt x="655614" y="152018"/>
                  </a:cubicBezTo>
                  <a:lnTo>
                    <a:pt x="614356" y="97417"/>
                  </a:lnTo>
                  <a:lnTo>
                    <a:pt x="571983" y="207733"/>
                  </a:lnTo>
                  <a:lnTo>
                    <a:pt x="647808" y="273477"/>
                  </a:lnTo>
                  <a:cubicBezTo>
                    <a:pt x="651153" y="276820"/>
                    <a:pt x="654499" y="281277"/>
                    <a:pt x="655614" y="285734"/>
                  </a:cubicBezTo>
                  <a:lnTo>
                    <a:pt x="705792" y="427251"/>
                  </a:lnTo>
                  <a:cubicBezTo>
                    <a:pt x="711367" y="442851"/>
                    <a:pt x="702447" y="458451"/>
                    <a:pt x="687951" y="464023"/>
                  </a:cubicBezTo>
                  <a:cubicBezTo>
                    <a:pt x="684606" y="465137"/>
                    <a:pt x="682376" y="465137"/>
                    <a:pt x="679030" y="465137"/>
                  </a:cubicBezTo>
                  <a:cubicBezTo>
                    <a:pt x="666764" y="465137"/>
                    <a:pt x="655614" y="458451"/>
                    <a:pt x="652269" y="446194"/>
                  </a:cubicBezTo>
                  <a:lnTo>
                    <a:pt x="611011" y="330306"/>
                  </a:lnTo>
                  <a:lnTo>
                    <a:pt x="525150" y="255648"/>
                  </a:lnTo>
                  <a:lnTo>
                    <a:pt x="493928" y="335878"/>
                  </a:lnTo>
                  <a:cubicBezTo>
                    <a:pt x="489468" y="347021"/>
                    <a:pt x="478317" y="354821"/>
                    <a:pt x="467167" y="354821"/>
                  </a:cubicBezTo>
                  <a:lnTo>
                    <a:pt x="384209" y="354821"/>
                  </a:lnTo>
                  <a:lnTo>
                    <a:pt x="406894" y="419286"/>
                  </a:lnTo>
                  <a:cubicBezTo>
                    <a:pt x="412468" y="434898"/>
                    <a:pt x="404665" y="450509"/>
                    <a:pt x="390172" y="456085"/>
                  </a:cubicBezTo>
                  <a:cubicBezTo>
                    <a:pt x="386828" y="457200"/>
                    <a:pt x="383484" y="457200"/>
                    <a:pt x="381254" y="457200"/>
                  </a:cubicBezTo>
                  <a:cubicBezTo>
                    <a:pt x="368992" y="457200"/>
                    <a:pt x="357844" y="449394"/>
                    <a:pt x="354500" y="438243"/>
                  </a:cubicBezTo>
                  <a:lnTo>
                    <a:pt x="325352" y="354821"/>
                  </a:lnTo>
                  <a:lnTo>
                    <a:pt x="321092" y="354821"/>
                  </a:lnTo>
                  <a:cubicBezTo>
                    <a:pt x="305481" y="354821"/>
                    <a:pt x="292100" y="342564"/>
                    <a:pt x="292100" y="325849"/>
                  </a:cubicBezTo>
                  <a:lnTo>
                    <a:pt x="298952" y="310168"/>
                  </a:lnTo>
                  <a:lnTo>
                    <a:pt x="228529" y="249787"/>
                  </a:lnTo>
                  <a:lnTo>
                    <a:pt x="198430" y="330076"/>
                  </a:lnTo>
                  <a:cubicBezTo>
                    <a:pt x="193971" y="340112"/>
                    <a:pt x="183938" y="347918"/>
                    <a:pt x="171676" y="347918"/>
                  </a:cubicBezTo>
                  <a:lnTo>
                    <a:pt x="27869" y="347918"/>
                  </a:lnTo>
                  <a:cubicBezTo>
                    <a:pt x="12262" y="347918"/>
                    <a:pt x="0" y="335652"/>
                    <a:pt x="0" y="320040"/>
                  </a:cubicBezTo>
                  <a:cubicBezTo>
                    <a:pt x="0" y="304428"/>
                    <a:pt x="12262" y="292162"/>
                    <a:pt x="27869" y="292162"/>
                  </a:cubicBezTo>
                  <a:lnTo>
                    <a:pt x="141577" y="292162"/>
                  </a:lnTo>
                  <a:lnTo>
                    <a:pt x="230759" y="55756"/>
                  </a:lnTo>
                  <a:lnTo>
                    <a:pt x="173905" y="55756"/>
                  </a:lnTo>
                  <a:lnTo>
                    <a:pt x="134888" y="141621"/>
                  </a:lnTo>
                  <a:cubicBezTo>
                    <a:pt x="130429" y="151657"/>
                    <a:pt x="120396" y="156117"/>
                    <a:pt x="110363" y="156117"/>
                  </a:cubicBezTo>
                  <a:cubicBezTo>
                    <a:pt x="105904" y="156117"/>
                    <a:pt x="101445" y="155002"/>
                    <a:pt x="96985" y="152772"/>
                  </a:cubicBezTo>
                  <a:cubicBezTo>
                    <a:pt x="83608" y="144966"/>
                    <a:pt x="78034" y="128239"/>
                    <a:pt x="85838" y="114858"/>
                  </a:cubicBezTo>
                  <a:lnTo>
                    <a:pt x="132658" y="14497"/>
                  </a:lnTo>
                  <a:cubicBezTo>
                    <a:pt x="138232" y="5576"/>
                    <a:pt x="147150" y="0"/>
                    <a:pt x="157183" y="0"/>
                  </a:cubicBez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Oval 2297">
              <a:extLst>
                <a:ext uri="{FF2B5EF4-FFF2-40B4-BE49-F238E27FC236}">
                  <a16:creationId xmlns:a16="http://schemas.microsoft.com/office/drawing/2014/main" id="{4229104F-1BB2-5DC5-8F94-905BDBEC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98">
              <a:extLst>
                <a:ext uri="{FF2B5EF4-FFF2-40B4-BE49-F238E27FC236}">
                  <a16:creationId xmlns:a16="http://schemas.microsoft.com/office/drawing/2014/main" id="{AEE5556B-57C0-AB0F-33C2-0AA705B69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26" y="1733550"/>
              <a:ext cx="152400" cy="127000"/>
            </a:xfrm>
            <a:custGeom>
              <a:avLst/>
              <a:gdLst>
                <a:gd name="T0" fmla="*/ 138 w 138"/>
                <a:gd name="T1" fmla="*/ 87 h 113"/>
                <a:gd name="T2" fmla="*/ 19 w 138"/>
                <a:gd name="T3" fmla="*/ 113 h 113"/>
                <a:gd name="T4" fmla="*/ 0 w 138"/>
                <a:gd name="T5" fmla="*/ 26 h 113"/>
                <a:gd name="T6" fmla="*/ 119 w 138"/>
                <a:gd name="T7" fmla="*/ 0 h 113"/>
                <a:gd name="T8" fmla="*/ 138 w 138"/>
                <a:gd name="T9" fmla="*/ 8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13">
                  <a:moveTo>
                    <a:pt x="138" y="87"/>
                  </a:moveTo>
                  <a:lnTo>
                    <a:pt x="19" y="113"/>
                  </a:lnTo>
                  <a:lnTo>
                    <a:pt x="0" y="26"/>
                  </a:lnTo>
                  <a:lnTo>
                    <a:pt x="119" y="0"/>
                  </a:lnTo>
                  <a:lnTo>
                    <a:pt x="138" y="87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nstruc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812795-0096-082D-1073-DC0A4281AE55}"/>
              </a:ext>
            </a:extLst>
          </p:cNvPr>
          <p:cNvGrpSpPr>
            <a:grpSpLocks noChangeAspect="1"/>
          </p:cNvGrpSpPr>
          <p:nvPr/>
        </p:nvGrpSpPr>
        <p:grpSpPr>
          <a:xfrm>
            <a:off x="4735424" y="2982043"/>
            <a:ext cx="359245" cy="429377"/>
            <a:chOff x="8158164" y="1847851"/>
            <a:chExt cx="398462" cy="476250"/>
          </a:xfrm>
          <a:solidFill>
            <a:schemeClr val="lt1"/>
          </a:solidFill>
        </p:grpSpPr>
        <p:sp>
          <p:nvSpPr>
            <p:cNvPr id="30" name="Freeform 527">
              <a:extLst>
                <a:ext uri="{FF2B5EF4-FFF2-40B4-BE49-F238E27FC236}">
                  <a16:creationId xmlns:a16="http://schemas.microsoft.com/office/drawing/2014/main" id="{C47C394B-9A7B-E1DE-0AE2-3FDAD6C33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01" y="2117726"/>
              <a:ext cx="161925" cy="204788"/>
            </a:xfrm>
            <a:custGeom>
              <a:avLst/>
              <a:gdLst>
                <a:gd name="T0" fmla="*/ 202 w 202"/>
                <a:gd name="T1" fmla="*/ 255 h 255"/>
                <a:gd name="T2" fmla="*/ 185 w 202"/>
                <a:gd name="T3" fmla="*/ 255 h 255"/>
                <a:gd name="T4" fmla="*/ 185 w 202"/>
                <a:gd name="T5" fmla="*/ 170 h 255"/>
                <a:gd name="T6" fmla="*/ 127 w 202"/>
                <a:gd name="T7" fmla="*/ 104 h 255"/>
                <a:gd name="T8" fmla="*/ 51 w 202"/>
                <a:gd name="T9" fmla="*/ 81 h 255"/>
                <a:gd name="T10" fmla="*/ 25 w 202"/>
                <a:gd name="T11" fmla="*/ 67 h 255"/>
                <a:gd name="T12" fmla="*/ 0 w 202"/>
                <a:gd name="T13" fmla="*/ 12 h 255"/>
                <a:gd name="T14" fmla="*/ 0 w 202"/>
                <a:gd name="T15" fmla="*/ 0 h 255"/>
                <a:gd name="T16" fmla="*/ 16 w 202"/>
                <a:gd name="T17" fmla="*/ 0 h 255"/>
                <a:gd name="T18" fmla="*/ 16 w 202"/>
                <a:gd name="T19" fmla="*/ 12 h 255"/>
                <a:gd name="T20" fmla="*/ 36 w 202"/>
                <a:gd name="T21" fmla="*/ 55 h 255"/>
                <a:gd name="T22" fmla="*/ 56 w 202"/>
                <a:gd name="T23" fmla="*/ 65 h 255"/>
                <a:gd name="T24" fmla="*/ 131 w 202"/>
                <a:gd name="T25" fmla="*/ 88 h 255"/>
                <a:gd name="T26" fmla="*/ 202 w 202"/>
                <a:gd name="T27" fmla="*/ 168 h 255"/>
                <a:gd name="T28" fmla="*/ 202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202" y="255"/>
                  </a:moveTo>
                  <a:lnTo>
                    <a:pt x="185" y="255"/>
                  </a:lnTo>
                  <a:lnTo>
                    <a:pt x="185" y="170"/>
                  </a:lnTo>
                  <a:cubicBezTo>
                    <a:pt x="180" y="140"/>
                    <a:pt x="157" y="113"/>
                    <a:pt x="127" y="104"/>
                  </a:cubicBezTo>
                  <a:lnTo>
                    <a:pt x="51" y="81"/>
                  </a:lnTo>
                  <a:cubicBezTo>
                    <a:pt x="42" y="78"/>
                    <a:pt x="33" y="74"/>
                    <a:pt x="25" y="67"/>
                  </a:cubicBezTo>
                  <a:cubicBezTo>
                    <a:pt x="9" y="53"/>
                    <a:pt x="0" y="33"/>
                    <a:pt x="0" y="1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"/>
                  </a:lnTo>
                  <a:cubicBezTo>
                    <a:pt x="16" y="28"/>
                    <a:pt x="24" y="44"/>
                    <a:pt x="36" y="55"/>
                  </a:cubicBezTo>
                  <a:cubicBezTo>
                    <a:pt x="42" y="59"/>
                    <a:pt x="49" y="63"/>
                    <a:pt x="56" y="65"/>
                  </a:cubicBezTo>
                  <a:lnTo>
                    <a:pt x="131" y="88"/>
                  </a:lnTo>
                  <a:cubicBezTo>
                    <a:pt x="168" y="99"/>
                    <a:pt x="196" y="131"/>
                    <a:pt x="202" y="168"/>
                  </a:cubicBezTo>
                  <a:lnTo>
                    <a:pt x="202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528">
              <a:extLst>
                <a:ext uri="{FF2B5EF4-FFF2-40B4-BE49-F238E27FC236}">
                  <a16:creationId xmlns:a16="http://schemas.microsoft.com/office/drawing/2014/main" id="{3C816EBB-32FD-B739-4B2F-3AA9D1F3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64" y="2117726"/>
              <a:ext cx="161925" cy="204788"/>
            </a:xfrm>
            <a:custGeom>
              <a:avLst/>
              <a:gdLst>
                <a:gd name="T0" fmla="*/ 16 w 202"/>
                <a:gd name="T1" fmla="*/ 255 h 255"/>
                <a:gd name="T2" fmla="*/ 0 w 202"/>
                <a:gd name="T3" fmla="*/ 255 h 255"/>
                <a:gd name="T4" fmla="*/ 0 w 202"/>
                <a:gd name="T5" fmla="*/ 171 h 255"/>
                <a:gd name="T6" fmla="*/ 70 w 202"/>
                <a:gd name="T7" fmla="*/ 88 h 255"/>
                <a:gd name="T8" fmla="*/ 145 w 202"/>
                <a:gd name="T9" fmla="*/ 65 h 255"/>
                <a:gd name="T10" fmla="*/ 166 w 202"/>
                <a:gd name="T11" fmla="*/ 54 h 255"/>
                <a:gd name="T12" fmla="*/ 185 w 202"/>
                <a:gd name="T13" fmla="*/ 11 h 255"/>
                <a:gd name="T14" fmla="*/ 185 w 202"/>
                <a:gd name="T15" fmla="*/ 0 h 255"/>
                <a:gd name="T16" fmla="*/ 202 w 202"/>
                <a:gd name="T17" fmla="*/ 0 h 255"/>
                <a:gd name="T18" fmla="*/ 202 w 202"/>
                <a:gd name="T19" fmla="*/ 11 h 255"/>
                <a:gd name="T20" fmla="*/ 177 w 202"/>
                <a:gd name="T21" fmla="*/ 66 h 255"/>
                <a:gd name="T22" fmla="*/ 150 w 202"/>
                <a:gd name="T23" fmla="*/ 81 h 255"/>
                <a:gd name="T24" fmla="*/ 75 w 202"/>
                <a:gd name="T25" fmla="*/ 104 h 255"/>
                <a:gd name="T26" fmla="*/ 16 w 202"/>
                <a:gd name="T27" fmla="*/ 173 h 255"/>
                <a:gd name="T28" fmla="*/ 16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16" y="255"/>
                  </a:moveTo>
                  <a:lnTo>
                    <a:pt x="0" y="255"/>
                  </a:lnTo>
                  <a:lnTo>
                    <a:pt x="0" y="171"/>
                  </a:lnTo>
                  <a:cubicBezTo>
                    <a:pt x="5" y="132"/>
                    <a:pt x="33" y="99"/>
                    <a:pt x="70" y="88"/>
                  </a:cubicBezTo>
                  <a:lnTo>
                    <a:pt x="145" y="65"/>
                  </a:lnTo>
                  <a:cubicBezTo>
                    <a:pt x="153" y="63"/>
                    <a:pt x="160" y="59"/>
                    <a:pt x="166" y="54"/>
                  </a:cubicBezTo>
                  <a:cubicBezTo>
                    <a:pt x="178" y="43"/>
                    <a:pt x="185" y="28"/>
                    <a:pt x="185" y="11"/>
                  </a:cubicBezTo>
                  <a:lnTo>
                    <a:pt x="185" y="0"/>
                  </a:lnTo>
                  <a:lnTo>
                    <a:pt x="202" y="0"/>
                  </a:lnTo>
                  <a:lnTo>
                    <a:pt x="202" y="11"/>
                  </a:lnTo>
                  <a:cubicBezTo>
                    <a:pt x="202" y="32"/>
                    <a:pt x="193" y="52"/>
                    <a:pt x="177" y="66"/>
                  </a:cubicBezTo>
                  <a:cubicBezTo>
                    <a:pt x="169" y="73"/>
                    <a:pt x="160" y="78"/>
                    <a:pt x="150" y="81"/>
                  </a:cubicBezTo>
                  <a:lnTo>
                    <a:pt x="75" y="104"/>
                  </a:lnTo>
                  <a:cubicBezTo>
                    <a:pt x="44" y="113"/>
                    <a:pt x="21" y="140"/>
                    <a:pt x="16" y="173"/>
                  </a:cubicBezTo>
                  <a:lnTo>
                    <a:pt x="16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8" name="Freeform 529">
              <a:extLst>
                <a:ext uri="{FF2B5EF4-FFF2-40B4-BE49-F238E27FC236}">
                  <a16:creationId xmlns:a16="http://schemas.microsoft.com/office/drawing/2014/main" id="{293476E4-40D8-9A98-B3B8-E25F837A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1985963"/>
              <a:ext cx="165100" cy="158750"/>
            </a:xfrm>
            <a:custGeom>
              <a:avLst/>
              <a:gdLst>
                <a:gd name="T0" fmla="*/ 102 w 204"/>
                <a:gd name="T1" fmla="*/ 198 h 198"/>
                <a:gd name="T2" fmla="*/ 66 w 204"/>
                <a:gd name="T3" fmla="*/ 188 h 198"/>
                <a:gd name="T4" fmla="*/ 0 w 204"/>
                <a:gd name="T5" fmla="*/ 105 h 198"/>
                <a:gd name="T6" fmla="*/ 0 w 204"/>
                <a:gd name="T7" fmla="*/ 0 h 198"/>
                <a:gd name="T8" fmla="*/ 17 w 204"/>
                <a:gd name="T9" fmla="*/ 0 h 198"/>
                <a:gd name="T10" fmla="*/ 17 w 204"/>
                <a:gd name="T11" fmla="*/ 105 h 198"/>
                <a:gd name="T12" fmla="*/ 75 w 204"/>
                <a:gd name="T13" fmla="*/ 174 h 198"/>
                <a:gd name="T14" fmla="*/ 129 w 204"/>
                <a:gd name="T15" fmla="*/ 174 h 198"/>
                <a:gd name="T16" fmla="*/ 188 w 204"/>
                <a:gd name="T17" fmla="*/ 105 h 198"/>
                <a:gd name="T18" fmla="*/ 188 w 204"/>
                <a:gd name="T19" fmla="*/ 0 h 198"/>
                <a:gd name="T20" fmla="*/ 204 w 204"/>
                <a:gd name="T21" fmla="*/ 0 h 198"/>
                <a:gd name="T22" fmla="*/ 204 w 204"/>
                <a:gd name="T23" fmla="*/ 105 h 198"/>
                <a:gd name="T24" fmla="*/ 138 w 204"/>
                <a:gd name="T25" fmla="*/ 188 h 198"/>
                <a:gd name="T26" fmla="*/ 102 w 204"/>
                <a:gd name="T2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8">
                  <a:moveTo>
                    <a:pt x="102" y="198"/>
                  </a:moveTo>
                  <a:cubicBezTo>
                    <a:pt x="90" y="198"/>
                    <a:pt x="77" y="195"/>
                    <a:pt x="66" y="188"/>
                  </a:cubicBezTo>
                  <a:cubicBezTo>
                    <a:pt x="36" y="169"/>
                    <a:pt x="0" y="140"/>
                    <a:pt x="0" y="105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05"/>
                  </a:lnTo>
                  <a:cubicBezTo>
                    <a:pt x="17" y="133"/>
                    <a:pt x="53" y="160"/>
                    <a:pt x="75" y="174"/>
                  </a:cubicBezTo>
                  <a:cubicBezTo>
                    <a:pt x="92" y="184"/>
                    <a:pt x="113" y="184"/>
                    <a:pt x="129" y="174"/>
                  </a:cubicBezTo>
                  <a:cubicBezTo>
                    <a:pt x="151" y="160"/>
                    <a:pt x="188" y="133"/>
                    <a:pt x="188" y="105"/>
                  </a:cubicBezTo>
                  <a:lnTo>
                    <a:pt x="188" y="0"/>
                  </a:lnTo>
                  <a:lnTo>
                    <a:pt x="204" y="0"/>
                  </a:lnTo>
                  <a:lnTo>
                    <a:pt x="204" y="105"/>
                  </a:lnTo>
                  <a:cubicBezTo>
                    <a:pt x="204" y="140"/>
                    <a:pt x="168" y="169"/>
                    <a:pt x="138" y="188"/>
                  </a:cubicBezTo>
                  <a:cubicBezTo>
                    <a:pt x="127" y="195"/>
                    <a:pt x="115" y="198"/>
                    <a:pt x="10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9" name="Freeform 530">
              <a:extLst>
                <a:ext uri="{FF2B5EF4-FFF2-40B4-BE49-F238E27FC236}">
                  <a16:creationId xmlns:a16="http://schemas.microsoft.com/office/drawing/2014/main" id="{BB092DB8-B69B-9A25-9247-83DBCC31C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8651" y="1847851"/>
              <a:ext cx="217488" cy="144463"/>
            </a:xfrm>
            <a:custGeom>
              <a:avLst/>
              <a:gdLst>
                <a:gd name="T0" fmla="*/ 17 w 269"/>
                <a:gd name="T1" fmla="*/ 162 h 179"/>
                <a:gd name="T2" fmla="*/ 252 w 269"/>
                <a:gd name="T3" fmla="*/ 162 h 179"/>
                <a:gd name="T4" fmla="*/ 252 w 269"/>
                <a:gd name="T5" fmla="*/ 134 h 179"/>
                <a:gd name="T6" fmla="*/ 134 w 269"/>
                <a:gd name="T7" fmla="*/ 16 h 179"/>
                <a:gd name="T8" fmla="*/ 17 w 269"/>
                <a:gd name="T9" fmla="*/ 134 h 179"/>
                <a:gd name="T10" fmla="*/ 17 w 269"/>
                <a:gd name="T11" fmla="*/ 162 h 179"/>
                <a:gd name="T12" fmla="*/ 269 w 269"/>
                <a:gd name="T13" fmla="*/ 179 h 179"/>
                <a:gd name="T14" fmla="*/ 0 w 269"/>
                <a:gd name="T15" fmla="*/ 179 h 179"/>
                <a:gd name="T16" fmla="*/ 0 w 269"/>
                <a:gd name="T17" fmla="*/ 134 h 179"/>
                <a:gd name="T18" fmla="*/ 134 w 269"/>
                <a:gd name="T19" fmla="*/ 0 h 179"/>
                <a:gd name="T20" fmla="*/ 269 w 269"/>
                <a:gd name="T21" fmla="*/ 134 h 179"/>
                <a:gd name="T22" fmla="*/ 269 w 269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179">
                  <a:moveTo>
                    <a:pt x="17" y="162"/>
                  </a:moveTo>
                  <a:lnTo>
                    <a:pt x="252" y="162"/>
                  </a:lnTo>
                  <a:lnTo>
                    <a:pt x="252" y="134"/>
                  </a:lnTo>
                  <a:cubicBezTo>
                    <a:pt x="252" y="69"/>
                    <a:pt x="199" y="16"/>
                    <a:pt x="134" y="16"/>
                  </a:cubicBezTo>
                  <a:cubicBezTo>
                    <a:pt x="69" y="16"/>
                    <a:pt x="17" y="69"/>
                    <a:pt x="17" y="134"/>
                  </a:cubicBezTo>
                  <a:lnTo>
                    <a:pt x="17" y="162"/>
                  </a:lnTo>
                  <a:close/>
                  <a:moveTo>
                    <a:pt x="269" y="179"/>
                  </a:moveTo>
                  <a:lnTo>
                    <a:pt x="0" y="179"/>
                  </a:lnTo>
                  <a:lnTo>
                    <a:pt x="0" y="134"/>
                  </a:lnTo>
                  <a:cubicBezTo>
                    <a:pt x="0" y="60"/>
                    <a:pt x="60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lnTo>
                    <a:pt x="269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0" name="Rectangle 531">
              <a:extLst>
                <a:ext uri="{FF2B5EF4-FFF2-40B4-BE49-F238E27FC236}">
                  <a16:creationId xmlns:a16="http://schemas.microsoft.com/office/drawing/2014/main" id="{FCD74E17-807F-9E13-F7D6-4F8D12DA7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7539" y="1978026"/>
              <a:ext cx="236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2" name="Freeform 532">
              <a:extLst>
                <a:ext uri="{FF2B5EF4-FFF2-40B4-BE49-F238E27FC236}">
                  <a16:creationId xmlns:a16="http://schemas.microsoft.com/office/drawing/2014/main" id="{9F1B0D63-FCFD-9820-AC31-357FE740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4" y="1854201"/>
              <a:ext cx="42863" cy="71438"/>
            </a:xfrm>
            <a:custGeom>
              <a:avLst/>
              <a:gdLst>
                <a:gd name="T0" fmla="*/ 27 w 27"/>
                <a:gd name="T1" fmla="*/ 45 h 45"/>
                <a:gd name="T2" fmla="*/ 0 w 27"/>
                <a:gd name="T3" fmla="*/ 45 h 45"/>
                <a:gd name="T4" fmla="*/ 0 w 27"/>
                <a:gd name="T5" fmla="*/ 0 h 45"/>
                <a:gd name="T6" fmla="*/ 8 w 27"/>
                <a:gd name="T7" fmla="*/ 0 h 45"/>
                <a:gd name="T8" fmla="*/ 8 w 27"/>
                <a:gd name="T9" fmla="*/ 37 h 45"/>
                <a:gd name="T10" fmla="*/ 18 w 27"/>
                <a:gd name="T11" fmla="*/ 37 h 45"/>
                <a:gd name="T12" fmla="*/ 18 w 27"/>
                <a:gd name="T13" fmla="*/ 0 h 45"/>
                <a:gd name="T14" fmla="*/ 27 w 27"/>
                <a:gd name="T15" fmla="*/ 0 h 45"/>
                <a:gd name="T16" fmla="*/ 27 w 2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5">
                  <a:moveTo>
                    <a:pt x="27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7"/>
                  </a:lnTo>
                  <a:lnTo>
                    <a:pt x="18" y="37"/>
                  </a:lnTo>
                  <a:lnTo>
                    <a:pt x="18" y="0"/>
                  </a:lnTo>
                  <a:lnTo>
                    <a:pt x="27" y="0"/>
                  </a:lnTo>
                  <a:lnTo>
                    <a:pt x="2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3" name="Rectangle 533">
              <a:extLst>
                <a:ext uri="{FF2B5EF4-FFF2-40B4-BE49-F238E27FC236}">
                  <a16:creationId xmlns:a16="http://schemas.microsoft.com/office/drawing/2014/main" id="{C938245E-EC7F-BCEE-F4EB-C1EBA08B4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6901" y="2192338"/>
              <a:ext cx="14288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4" name="Freeform 534">
              <a:extLst>
                <a:ext uri="{FF2B5EF4-FFF2-40B4-BE49-F238E27FC236}">
                  <a16:creationId xmlns:a16="http://schemas.microsoft.com/office/drawing/2014/main" id="{51097A89-A32D-8E0A-BC52-293FFD3F2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6" y="2179638"/>
              <a:ext cx="211138" cy="93663"/>
            </a:xfrm>
            <a:custGeom>
              <a:avLst/>
              <a:gdLst>
                <a:gd name="T0" fmla="*/ 115 w 133"/>
                <a:gd name="T1" fmla="*/ 59 h 59"/>
                <a:gd name="T2" fmla="*/ 18 w 133"/>
                <a:gd name="T3" fmla="*/ 59 h 59"/>
                <a:gd name="T4" fmla="*/ 0 w 133"/>
                <a:gd name="T5" fmla="*/ 3 h 59"/>
                <a:gd name="T6" fmla="*/ 7 w 133"/>
                <a:gd name="T7" fmla="*/ 0 h 59"/>
                <a:gd name="T8" fmla="*/ 24 w 133"/>
                <a:gd name="T9" fmla="*/ 50 h 59"/>
                <a:gd name="T10" fmla="*/ 109 w 133"/>
                <a:gd name="T11" fmla="*/ 50 h 59"/>
                <a:gd name="T12" fmla="*/ 125 w 133"/>
                <a:gd name="T13" fmla="*/ 0 h 59"/>
                <a:gd name="T14" fmla="*/ 133 w 133"/>
                <a:gd name="T15" fmla="*/ 3 h 59"/>
                <a:gd name="T16" fmla="*/ 115 w 133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59">
                  <a:moveTo>
                    <a:pt x="115" y="59"/>
                  </a:moveTo>
                  <a:lnTo>
                    <a:pt x="18" y="5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50"/>
                  </a:lnTo>
                  <a:lnTo>
                    <a:pt x="109" y="50"/>
                  </a:lnTo>
                  <a:lnTo>
                    <a:pt x="125" y="0"/>
                  </a:lnTo>
                  <a:lnTo>
                    <a:pt x="133" y="3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5" name="Rectangle 535">
              <a:extLst>
                <a:ext uri="{FF2B5EF4-FFF2-40B4-BE49-F238E27FC236}">
                  <a16:creationId xmlns:a16="http://schemas.microsoft.com/office/drawing/2014/main" id="{BE37B4B4-9834-0694-B549-E1FB5E7B5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1" y="2192338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6" name="Freeform 536">
              <a:extLst>
                <a:ext uri="{FF2B5EF4-FFF2-40B4-BE49-F238E27FC236}">
                  <a16:creationId xmlns:a16="http://schemas.microsoft.com/office/drawing/2014/main" id="{C9A295F6-FADD-508F-20DC-BD727991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9" y="2159001"/>
              <a:ext cx="125413" cy="57150"/>
            </a:xfrm>
            <a:custGeom>
              <a:avLst/>
              <a:gdLst>
                <a:gd name="T0" fmla="*/ 78 w 156"/>
                <a:gd name="T1" fmla="*/ 70 h 70"/>
                <a:gd name="T2" fmla="*/ 0 w 156"/>
                <a:gd name="T3" fmla="*/ 0 h 70"/>
                <a:gd name="T4" fmla="*/ 17 w 156"/>
                <a:gd name="T5" fmla="*/ 0 h 70"/>
                <a:gd name="T6" fmla="*/ 78 w 156"/>
                <a:gd name="T7" fmla="*/ 54 h 70"/>
                <a:gd name="T8" fmla="*/ 140 w 156"/>
                <a:gd name="T9" fmla="*/ 0 h 70"/>
                <a:gd name="T10" fmla="*/ 156 w 156"/>
                <a:gd name="T11" fmla="*/ 0 h 70"/>
                <a:gd name="T12" fmla="*/ 78 w 156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0">
                  <a:moveTo>
                    <a:pt x="78" y="70"/>
                  </a:moveTo>
                  <a:cubicBezTo>
                    <a:pt x="35" y="70"/>
                    <a:pt x="0" y="39"/>
                    <a:pt x="0" y="0"/>
                  </a:cubicBezTo>
                  <a:lnTo>
                    <a:pt x="17" y="0"/>
                  </a:lnTo>
                  <a:cubicBezTo>
                    <a:pt x="17" y="30"/>
                    <a:pt x="45" y="54"/>
                    <a:pt x="78" y="54"/>
                  </a:cubicBezTo>
                  <a:cubicBezTo>
                    <a:pt x="112" y="54"/>
                    <a:pt x="140" y="30"/>
                    <a:pt x="140" y="0"/>
                  </a:cubicBezTo>
                  <a:lnTo>
                    <a:pt x="156" y="0"/>
                  </a:lnTo>
                  <a:cubicBezTo>
                    <a:pt x="156" y="39"/>
                    <a:pt x="121" y="70"/>
                    <a:pt x="7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7" name="Freeform 537">
              <a:extLst>
                <a:ext uri="{FF2B5EF4-FFF2-40B4-BE49-F238E27FC236}">
                  <a16:creationId xmlns:a16="http://schemas.microsoft.com/office/drawing/2014/main" id="{D2C23759-2BA8-B1D4-5EC3-2EA32A33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9" y="1892301"/>
              <a:ext cx="33338" cy="73025"/>
            </a:xfrm>
            <a:custGeom>
              <a:avLst/>
              <a:gdLst>
                <a:gd name="T0" fmla="*/ 40 w 41"/>
                <a:gd name="T1" fmla="*/ 89 h 89"/>
                <a:gd name="T2" fmla="*/ 24 w 41"/>
                <a:gd name="T3" fmla="*/ 88 h 89"/>
                <a:gd name="T4" fmla="*/ 0 w 41"/>
                <a:gd name="T5" fmla="*/ 11 h 89"/>
                <a:gd name="T6" fmla="*/ 12 w 41"/>
                <a:gd name="T7" fmla="*/ 0 h 89"/>
                <a:gd name="T8" fmla="*/ 40 w 41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9">
                  <a:moveTo>
                    <a:pt x="40" y="89"/>
                  </a:moveTo>
                  <a:lnTo>
                    <a:pt x="24" y="88"/>
                  </a:lnTo>
                  <a:cubicBezTo>
                    <a:pt x="24" y="63"/>
                    <a:pt x="16" y="27"/>
                    <a:pt x="0" y="11"/>
                  </a:cubicBezTo>
                  <a:lnTo>
                    <a:pt x="12" y="0"/>
                  </a:lnTo>
                  <a:cubicBezTo>
                    <a:pt x="33" y="20"/>
                    <a:pt x="41" y="64"/>
                    <a:pt x="4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8" name="Freeform 538">
              <a:extLst>
                <a:ext uri="{FF2B5EF4-FFF2-40B4-BE49-F238E27FC236}">
                  <a16:creationId xmlns:a16="http://schemas.microsoft.com/office/drawing/2014/main" id="{57192022-26F4-B19C-71D4-C0559CD0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3751" y="1892301"/>
              <a:ext cx="31750" cy="73025"/>
            </a:xfrm>
            <a:custGeom>
              <a:avLst/>
              <a:gdLst>
                <a:gd name="T0" fmla="*/ 0 w 40"/>
                <a:gd name="T1" fmla="*/ 89 h 89"/>
                <a:gd name="T2" fmla="*/ 29 w 40"/>
                <a:gd name="T3" fmla="*/ 0 h 89"/>
                <a:gd name="T4" fmla="*/ 40 w 40"/>
                <a:gd name="T5" fmla="*/ 11 h 89"/>
                <a:gd name="T6" fmla="*/ 17 w 40"/>
                <a:gd name="T7" fmla="*/ 88 h 89"/>
                <a:gd name="T8" fmla="*/ 0 w 40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9">
                  <a:moveTo>
                    <a:pt x="0" y="89"/>
                  </a:moveTo>
                  <a:cubicBezTo>
                    <a:pt x="0" y="64"/>
                    <a:pt x="8" y="20"/>
                    <a:pt x="29" y="0"/>
                  </a:cubicBezTo>
                  <a:lnTo>
                    <a:pt x="40" y="11"/>
                  </a:lnTo>
                  <a:cubicBezTo>
                    <a:pt x="25" y="26"/>
                    <a:pt x="16" y="63"/>
                    <a:pt x="17" y="88"/>
                  </a:cubicBezTo>
                  <a:lnTo>
                    <a:pt x="0" y="8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9" name="Freeform 539">
              <a:extLst>
                <a:ext uri="{FF2B5EF4-FFF2-40B4-BE49-F238E27FC236}">
                  <a16:creationId xmlns:a16="http://schemas.microsoft.com/office/drawing/2014/main" id="{FADBF14F-16E8-E580-AA34-8C72B53CF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4" y="2259013"/>
              <a:ext cx="204788" cy="65088"/>
            </a:xfrm>
            <a:custGeom>
              <a:avLst/>
              <a:gdLst>
                <a:gd name="T0" fmla="*/ 129 w 129"/>
                <a:gd name="T1" fmla="*/ 41 h 41"/>
                <a:gd name="T2" fmla="*/ 121 w 129"/>
                <a:gd name="T3" fmla="*/ 41 h 41"/>
                <a:gd name="T4" fmla="*/ 121 w 129"/>
                <a:gd name="T5" fmla="*/ 9 h 41"/>
                <a:gd name="T6" fmla="*/ 8 w 129"/>
                <a:gd name="T7" fmla="*/ 9 h 41"/>
                <a:gd name="T8" fmla="*/ 8 w 129"/>
                <a:gd name="T9" fmla="*/ 41 h 41"/>
                <a:gd name="T10" fmla="*/ 0 w 129"/>
                <a:gd name="T11" fmla="*/ 41 h 41"/>
                <a:gd name="T12" fmla="*/ 0 w 129"/>
                <a:gd name="T13" fmla="*/ 0 h 41"/>
                <a:gd name="T14" fmla="*/ 129 w 129"/>
                <a:gd name="T15" fmla="*/ 0 h 41"/>
                <a:gd name="T16" fmla="*/ 129 w 129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41">
                  <a:moveTo>
                    <a:pt x="129" y="41"/>
                  </a:moveTo>
                  <a:lnTo>
                    <a:pt x="121" y="41"/>
                  </a:lnTo>
                  <a:lnTo>
                    <a:pt x="121" y="9"/>
                  </a:lnTo>
                  <a:lnTo>
                    <a:pt x="8" y="9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12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40" name="Contamin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AA2A1F-A1BA-1488-412E-1D83EEB6D7DE}"/>
              </a:ext>
            </a:extLst>
          </p:cNvPr>
          <p:cNvGrpSpPr>
            <a:grpSpLocks noChangeAspect="1"/>
          </p:cNvGrpSpPr>
          <p:nvPr/>
        </p:nvGrpSpPr>
        <p:grpSpPr>
          <a:xfrm>
            <a:off x="6538271" y="4899409"/>
            <a:ext cx="433182" cy="429377"/>
            <a:chOff x="4278313" y="254000"/>
            <a:chExt cx="903288" cy="895351"/>
          </a:xfrm>
        </p:grpSpPr>
        <p:sp>
          <p:nvSpPr>
            <p:cNvPr id="22541" name="Freeform 88">
              <a:extLst>
                <a:ext uri="{FF2B5EF4-FFF2-40B4-BE49-F238E27FC236}">
                  <a16:creationId xmlns:a16="http://schemas.microsoft.com/office/drawing/2014/main" id="{917A7606-D422-A629-1335-C3688068C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665163"/>
              <a:ext cx="477838" cy="484188"/>
            </a:xfrm>
            <a:custGeom>
              <a:avLst/>
              <a:gdLst>
                <a:gd name="T0" fmla="*/ 149 w 636"/>
                <a:gd name="T1" fmla="*/ 604 h 643"/>
                <a:gd name="T2" fmla="*/ 268 w 636"/>
                <a:gd name="T3" fmla="*/ 464 h 643"/>
                <a:gd name="T4" fmla="*/ 389 w 636"/>
                <a:gd name="T5" fmla="*/ 496 h 643"/>
                <a:gd name="T6" fmla="*/ 636 w 636"/>
                <a:gd name="T7" fmla="*/ 247 h 643"/>
                <a:gd name="T8" fmla="*/ 622 w 636"/>
                <a:gd name="T9" fmla="*/ 167 h 643"/>
                <a:gd name="T10" fmla="*/ 387 w 636"/>
                <a:gd name="T11" fmla="*/ 0 h 643"/>
                <a:gd name="T12" fmla="*/ 140 w 636"/>
                <a:gd name="T13" fmla="*/ 249 h 643"/>
                <a:gd name="T14" fmla="*/ 154 w 636"/>
                <a:gd name="T15" fmla="*/ 329 h 643"/>
                <a:gd name="T16" fmla="*/ 173 w 636"/>
                <a:gd name="T17" fmla="*/ 370 h 643"/>
                <a:gd name="T18" fmla="*/ 34 w 636"/>
                <a:gd name="T19" fmla="*/ 491 h 643"/>
                <a:gd name="T20" fmla="*/ 10 w 636"/>
                <a:gd name="T21" fmla="*/ 577 h 643"/>
                <a:gd name="T22" fmla="*/ 31 w 636"/>
                <a:gd name="T23" fmla="*/ 609 h 643"/>
                <a:gd name="T24" fmla="*/ 149 w 636"/>
                <a:gd name="T25" fmla="*/ 604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643">
                  <a:moveTo>
                    <a:pt x="149" y="604"/>
                  </a:moveTo>
                  <a:lnTo>
                    <a:pt x="268" y="464"/>
                  </a:lnTo>
                  <a:cubicBezTo>
                    <a:pt x="304" y="484"/>
                    <a:pt x="345" y="496"/>
                    <a:pt x="389" y="496"/>
                  </a:cubicBezTo>
                  <a:cubicBezTo>
                    <a:pt x="526" y="495"/>
                    <a:pt x="636" y="384"/>
                    <a:pt x="636" y="247"/>
                  </a:cubicBezTo>
                  <a:cubicBezTo>
                    <a:pt x="636" y="219"/>
                    <a:pt x="631" y="192"/>
                    <a:pt x="622" y="167"/>
                  </a:cubicBezTo>
                  <a:cubicBezTo>
                    <a:pt x="588" y="70"/>
                    <a:pt x="496" y="0"/>
                    <a:pt x="387" y="0"/>
                  </a:cubicBezTo>
                  <a:cubicBezTo>
                    <a:pt x="251" y="1"/>
                    <a:pt x="140" y="112"/>
                    <a:pt x="140" y="249"/>
                  </a:cubicBezTo>
                  <a:cubicBezTo>
                    <a:pt x="141" y="277"/>
                    <a:pt x="145" y="304"/>
                    <a:pt x="154" y="329"/>
                  </a:cubicBezTo>
                  <a:cubicBezTo>
                    <a:pt x="159" y="343"/>
                    <a:pt x="165" y="357"/>
                    <a:pt x="173" y="370"/>
                  </a:cubicBezTo>
                  <a:lnTo>
                    <a:pt x="34" y="491"/>
                  </a:lnTo>
                  <a:cubicBezTo>
                    <a:pt x="8" y="514"/>
                    <a:pt x="0" y="547"/>
                    <a:pt x="10" y="577"/>
                  </a:cubicBezTo>
                  <a:cubicBezTo>
                    <a:pt x="14" y="588"/>
                    <a:pt x="21" y="599"/>
                    <a:pt x="31" y="609"/>
                  </a:cubicBezTo>
                  <a:cubicBezTo>
                    <a:pt x="63" y="641"/>
                    <a:pt x="116" y="643"/>
                    <a:pt x="149" y="604"/>
                  </a:cubicBezTo>
                  <a:close/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2" name="Oval 89">
              <a:extLst>
                <a:ext uri="{FF2B5EF4-FFF2-40B4-BE49-F238E27FC236}">
                  <a16:creationId xmlns:a16="http://schemas.microsoft.com/office/drawing/2014/main" id="{3290D548-5D24-FE83-F7C9-5B003450B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13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3" name="Freeform 90">
              <a:extLst>
                <a:ext uri="{FF2B5EF4-FFF2-40B4-BE49-F238E27FC236}">
                  <a16:creationId xmlns:a16="http://schemas.microsoft.com/office/drawing/2014/main" id="{F1A8FC83-A2D5-8ED6-E94E-A4602EEE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050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4" name="Oval 91">
              <a:extLst>
                <a:ext uri="{FF2B5EF4-FFF2-40B4-BE49-F238E27FC236}">
                  <a16:creationId xmlns:a16="http://schemas.microsoft.com/office/drawing/2014/main" id="{3A3461D9-2CA8-36AE-91E6-5CFC6DF85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9675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5" name="Freeform 92">
              <a:extLst>
                <a:ext uri="{FF2B5EF4-FFF2-40B4-BE49-F238E27FC236}">
                  <a16:creationId xmlns:a16="http://schemas.microsoft.com/office/drawing/2014/main" id="{1080861E-5843-B873-9459-6713B7223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6" name="Oval 93">
              <a:extLst>
                <a:ext uri="{FF2B5EF4-FFF2-40B4-BE49-F238E27FC236}">
                  <a16:creationId xmlns:a16="http://schemas.microsoft.com/office/drawing/2014/main" id="{42C31F1A-94D6-088F-DDF9-299CE60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088" y="719138"/>
              <a:ext cx="117475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7" name="Freeform 94">
              <a:extLst>
                <a:ext uri="{FF2B5EF4-FFF2-40B4-BE49-F238E27FC236}">
                  <a16:creationId xmlns:a16="http://schemas.microsoft.com/office/drawing/2014/main" id="{C374B31A-6A89-0E8B-5596-9AC9C407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582613"/>
              <a:ext cx="71438" cy="93663"/>
            </a:xfrm>
            <a:custGeom>
              <a:avLst/>
              <a:gdLst>
                <a:gd name="T0" fmla="*/ 95 w 95"/>
                <a:gd name="T1" fmla="*/ 0 h 125"/>
                <a:gd name="T2" fmla="*/ 0 w 95"/>
                <a:gd name="T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125">
                  <a:moveTo>
                    <a:pt x="95" y="0"/>
                  </a:moveTo>
                  <a:cubicBezTo>
                    <a:pt x="95" y="60"/>
                    <a:pt x="55" y="110"/>
                    <a:pt x="0" y="125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8" name="Freeform 95">
              <a:extLst>
                <a:ext uri="{FF2B5EF4-FFF2-40B4-BE49-F238E27FC236}">
                  <a16:creationId xmlns:a16="http://schemas.microsoft.com/office/drawing/2014/main" id="{D76BBCB8-3217-08A8-7384-68B436022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88" y="582613"/>
              <a:ext cx="98425" cy="96838"/>
            </a:xfrm>
            <a:custGeom>
              <a:avLst/>
              <a:gdLst>
                <a:gd name="T0" fmla="*/ 0 w 130"/>
                <a:gd name="T1" fmla="*/ 0 h 130"/>
                <a:gd name="T2" fmla="*/ 130 w 130"/>
                <a:gd name="T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0" h="130">
                  <a:moveTo>
                    <a:pt x="0" y="0"/>
                  </a:moveTo>
                  <a:cubicBezTo>
                    <a:pt x="0" y="72"/>
                    <a:pt x="58" y="130"/>
                    <a:pt x="130" y="130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9" name="Line 96">
              <a:extLst>
                <a:ext uri="{FF2B5EF4-FFF2-40B4-BE49-F238E27FC236}">
                  <a16:creationId xmlns:a16="http://schemas.microsoft.com/office/drawing/2014/main" id="{1E0EAE6E-AF13-D57B-A41F-BCB592AB2E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25" y="582613"/>
              <a:ext cx="0" cy="82550"/>
            </a:xfrm>
            <a:prstGeom prst="lin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0" name="Oval 97">
              <a:extLst>
                <a:ext uri="{FF2B5EF4-FFF2-40B4-BE49-F238E27FC236}">
                  <a16:creationId xmlns:a16="http://schemas.microsoft.com/office/drawing/2014/main" id="{D94EA36B-20E0-28B5-8BDE-D3601CECA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54000"/>
              <a:ext cx="130175" cy="130175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1" name="Freeform 98">
              <a:extLst>
                <a:ext uri="{FF2B5EF4-FFF2-40B4-BE49-F238E27FC236}">
                  <a16:creationId xmlns:a16="http://schemas.microsoft.com/office/drawing/2014/main" id="{48DAC6DE-A298-0D45-7E7D-ACCC81C5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423863"/>
              <a:ext cx="225425" cy="109538"/>
            </a:xfrm>
            <a:custGeom>
              <a:avLst/>
              <a:gdLst>
                <a:gd name="T0" fmla="*/ 300 w 300"/>
                <a:gd name="T1" fmla="*/ 146 h 146"/>
                <a:gd name="T2" fmla="*/ 300 w 300"/>
                <a:gd name="T3" fmla="*/ 110 h 146"/>
                <a:gd name="T4" fmla="*/ 150 w 300"/>
                <a:gd name="T5" fmla="*/ 0 h 146"/>
                <a:gd name="T6" fmla="*/ 0 w 300"/>
                <a:gd name="T7" fmla="*/ 110 h 146"/>
                <a:gd name="T8" fmla="*/ 0 w 300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46">
                  <a:moveTo>
                    <a:pt x="300" y="146"/>
                  </a:moveTo>
                  <a:lnTo>
                    <a:pt x="300" y="110"/>
                  </a:lnTo>
                  <a:cubicBezTo>
                    <a:pt x="300" y="40"/>
                    <a:pt x="233" y="0"/>
                    <a:pt x="150" y="0"/>
                  </a:cubicBezTo>
                  <a:cubicBezTo>
                    <a:pt x="67" y="0"/>
                    <a:pt x="0" y="40"/>
                    <a:pt x="0" y="110"/>
                  </a:cubicBezTo>
                  <a:lnTo>
                    <a:pt x="0" y="146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2" name="Freeform 99">
              <a:extLst>
                <a:ext uri="{FF2B5EF4-FFF2-40B4-BE49-F238E27FC236}">
                  <a16:creationId xmlns:a16="http://schemas.microsoft.com/office/drawing/2014/main" id="{3E54C03A-5CEE-7CE1-535E-3DF6701D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874713"/>
              <a:ext cx="173038" cy="96838"/>
            </a:xfrm>
            <a:custGeom>
              <a:avLst/>
              <a:gdLst>
                <a:gd name="T0" fmla="*/ 231 w 231"/>
                <a:gd name="T1" fmla="*/ 129 h 129"/>
                <a:gd name="T2" fmla="*/ 231 w 231"/>
                <a:gd name="T3" fmla="*/ 100 h 129"/>
                <a:gd name="T4" fmla="*/ 95 w 231"/>
                <a:gd name="T5" fmla="*/ 0 h 129"/>
                <a:gd name="T6" fmla="*/ 0 w 231"/>
                <a:gd name="T7" fmla="*/ 2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9">
                  <a:moveTo>
                    <a:pt x="231" y="129"/>
                  </a:moveTo>
                  <a:lnTo>
                    <a:pt x="231" y="100"/>
                  </a:lnTo>
                  <a:cubicBezTo>
                    <a:pt x="231" y="36"/>
                    <a:pt x="170" y="0"/>
                    <a:pt x="95" y="0"/>
                  </a:cubicBezTo>
                  <a:cubicBezTo>
                    <a:pt x="58" y="0"/>
                    <a:pt x="24" y="9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2553" name="Rectangle 90">
            <a:extLst>
              <a:ext uri="{FF2B5EF4-FFF2-40B4-BE49-F238E27FC236}">
                <a16:creationId xmlns:a16="http://schemas.microsoft.com/office/drawing/2014/main" id="{2A93375F-6DE9-B284-142C-FED393BFEA9A}"/>
              </a:ext>
            </a:extLst>
          </p:cNvPr>
          <p:cNvSpPr>
            <a:spLocks noChangeAspect="1"/>
          </p:cNvSpPr>
          <p:nvPr/>
        </p:nvSpPr>
        <p:spPr>
          <a:xfrm>
            <a:off x="5810776" y="201174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4" name="Rectangle 91">
            <a:extLst>
              <a:ext uri="{FF2B5EF4-FFF2-40B4-BE49-F238E27FC236}">
                <a16:creationId xmlns:a16="http://schemas.microsoft.com/office/drawing/2014/main" id="{7240F90D-B087-761D-522D-5EB171A23897}"/>
              </a:ext>
            </a:extLst>
          </p:cNvPr>
          <p:cNvSpPr>
            <a:spLocks noChangeAspect="1"/>
          </p:cNvSpPr>
          <p:nvPr/>
        </p:nvSpPr>
        <p:spPr>
          <a:xfrm>
            <a:off x="7229104" y="240996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5" name="Rectangle 92">
            <a:extLst>
              <a:ext uri="{FF2B5EF4-FFF2-40B4-BE49-F238E27FC236}">
                <a16:creationId xmlns:a16="http://schemas.microsoft.com/office/drawing/2014/main" id="{CAB08412-D5D9-3521-EA8D-C6B88A1D1DD6}"/>
              </a:ext>
            </a:extLst>
          </p:cNvPr>
          <p:cNvSpPr>
            <a:spLocks noChangeAspect="1"/>
          </p:cNvSpPr>
          <p:nvPr/>
        </p:nvSpPr>
        <p:spPr>
          <a:xfrm>
            <a:off x="7571536" y="3875684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2112393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48F4020-4A0D-ABF8-F89D-E3E0AE01974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1766B2F9-A9D8-0442-C205-AE51253F929A}"/>
              </a:ext>
            </a:extLst>
          </p:cNvPr>
          <p:cNvGrpSpPr/>
          <p:nvPr/>
        </p:nvGrpSpPr>
        <p:grpSpPr>
          <a:xfrm>
            <a:off x="4378717" y="1673805"/>
            <a:ext cx="3928157" cy="3928157"/>
            <a:chOff x="5838290" y="1088740"/>
            <a:chExt cx="5237542" cy="5237542"/>
          </a:xfrm>
        </p:grpSpPr>
        <p:sp>
          <p:nvSpPr>
            <p:cNvPr id="6" name="Freeform: Shape 31">
              <a:extLst>
                <a:ext uri="{FF2B5EF4-FFF2-40B4-BE49-F238E27FC236}">
                  <a16:creationId xmlns:a16="http://schemas.microsoft.com/office/drawing/2014/main" id="{817A611F-D24B-A9F2-A514-C48D41FC18E6}"/>
                </a:ext>
              </a:extLst>
            </p:cNvPr>
            <p:cNvSpPr>
              <a:spLocks noChangeAspect="1"/>
            </p:cNvSpPr>
            <p:nvPr/>
          </p:nvSpPr>
          <p:spPr>
            <a:xfrm rot="7860000">
              <a:off x="5838290" y="2381992"/>
              <a:ext cx="5237542" cy="2651038"/>
            </a:xfrm>
            <a:custGeom>
              <a:avLst/>
              <a:gdLst>
                <a:gd name="connsiteX0" fmla="*/ 4094712 w 6337426"/>
                <a:gd name="connsiteY0" fmla="*/ 3207756 h 3207756"/>
                <a:gd name="connsiteX1" fmla="*/ 4272279 w 6337426"/>
                <a:gd name="connsiteY1" fmla="*/ 2978421 h 3207756"/>
                <a:gd name="connsiteX2" fmla="*/ 4621089 w 6337426"/>
                <a:gd name="connsiteY2" fmla="*/ 2442407 h 3207756"/>
                <a:gd name="connsiteX3" fmla="*/ 5297235 w 6337426"/>
                <a:gd name="connsiteY3" fmla="*/ 505371 h 3207756"/>
                <a:gd name="connsiteX4" fmla="*/ 5307513 w 6337426"/>
                <a:gd name="connsiteY4" fmla="*/ 369041 h 3207756"/>
                <a:gd name="connsiteX5" fmla="*/ 5409331 w 6337426"/>
                <a:gd name="connsiteY5" fmla="*/ 418018 h 3207756"/>
                <a:gd name="connsiteX6" fmla="*/ 6337426 w 6337426"/>
                <a:gd name="connsiteY6" fmla="*/ 1603878 h 3207756"/>
                <a:gd name="connsiteX7" fmla="*/ 4110991 w 6337426"/>
                <a:gd name="connsiteY7" fmla="*/ 3205541 h 3207756"/>
                <a:gd name="connsiteX8" fmla="*/ 249013 w 6337426"/>
                <a:gd name="connsiteY8" fmla="*/ 2256666 h 3207756"/>
                <a:gd name="connsiteX9" fmla="*/ 0 w 6337426"/>
                <a:gd name="connsiteY9" fmla="*/ 1603878 h 3207756"/>
                <a:gd name="connsiteX10" fmla="*/ 2226435 w 6337426"/>
                <a:gd name="connsiteY10" fmla="*/ 2215 h 3207756"/>
                <a:gd name="connsiteX11" fmla="*/ 2242713 w 6337426"/>
                <a:gd name="connsiteY11" fmla="*/ 0 h 3207756"/>
                <a:gd name="connsiteX12" fmla="*/ 2065147 w 6337426"/>
                <a:gd name="connsiteY12" fmla="*/ 229334 h 3207756"/>
                <a:gd name="connsiteX13" fmla="*/ 1716336 w 6337426"/>
                <a:gd name="connsiteY13" fmla="*/ 765348 h 3207756"/>
                <a:gd name="connsiteX14" fmla="*/ 1040191 w 6337426"/>
                <a:gd name="connsiteY14" fmla="*/ 2702384 h 3207756"/>
                <a:gd name="connsiteX15" fmla="*/ 1029912 w 6337426"/>
                <a:gd name="connsiteY15" fmla="*/ 2838715 h 3207756"/>
                <a:gd name="connsiteX16" fmla="*/ 928095 w 6337426"/>
                <a:gd name="connsiteY16" fmla="*/ 2789739 h 3207756"/>
                <a:gd name="connsiteX17" fmla="*/ 249013 w 6337426"/>
                <a:gd name="connsiteY17" fmla="*/ 2256666 h 320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7756">
                  <a:moveTo>
                    <a:pt x="4094712" y="3207756"/>
                  </a:moveTo>
                  <a:lnTo>
                    <a:pt x="4272279" y="2978421"/>
                  </a:lnTo>
                  <a:cubicBezTo>
                    <a:pt x="4394764" y="2810951"/>
                    <a:pt x="4511712" y="2631854"/>
                    <a:pt x="4621089" y="2442407"/>
                  </a:cubicBezTo>
                  <a:cubicBezTo>
                    <a:pt x="5003909" y="1779345"/>
                    <a:pt x="5230555" y="1099349"/>
                    <a:pt x="5297235" y="505371"/>
                  </a:cubicBezTo>
                  <a:lnTo>
                    <a:pt x="5307513" y="369041"/>
                  </a:lnTo>
                  <a:lnTo>
                    <a:pt x="5409331" y="418018"/>
                  </a:lnTo>
                  <a:cubicBezTo>
                    <a:pt x="5982755" y="721506"/>
                    <a:pt x="6337426" y="1140771"/>
                    <a:pt x="6337426" y="1603878"/>
                  </a:cubicBezTo>
                  <a:cubicBezTo>
                    <a:pt x="6337426" y="2356428"/>
                    <a:pt x="5400875" y="2993206"/>
                    <a:pt x="4110991" y="3205541"/>
                  </a:cubicBezTo>
                  <a:close/>
                  <a:moveTo>
                    <a:pt x="249013" y="2256666"/>
                  </a:moveTo>
                  <a:cubicBezTo>
                    <a:pt x="88668" y="2056025"/>
                    <a:pt x="0" y="1835432"/>
                    <a:pt x="0" y="1603878"/>
                  </a:cubicBezTo>
                  <a:cubicBezTo>
                    <a:pt x="0" y="851329"/>
                    <a:pt x="936551" y="214550"/>
                    <a:pt x="2226435" y="2215"/>
                  </a:cubicBezTo>
                  <a:lnTo>
                    <a:pt x="2242713" y="0"/>
                  </a:lnTo>
                  <a:lnTo>
                    <a:pt x="2065147" y="229334"/>
                  </a:lnTo>
                  <a:cubicBezTo>
                    <a:pt x="1942662" y="396804"/>
                    <a:pt x="1825713" y="575901"/>
                    <a:pt x="1716336" y="765348"/>
                  </a:cubicBezTo>
                  <a:cubicBezTo>
                    <a:pt x="1333517" y="1428410"/>
                    <a:pt x="1106871" y="2108406"/>
                    <a:pt x="1040191" y="2702384"/>
                  </a:cubicBezTo>
                  <a:lnTo>
                    <a:pt x="1029912" y="2838715"/>
                  </a:lnTo>
                  <a:lnTo>
                    <a:pt x="928095" y="2789739"/>
                  </a:lnTo>
                  <a:cubicBezTo>
                    <a:pt x="641382" y="2637995"/>
                    <a:pt x="409359" y="2457306"/>
                    <a:pt x="249013" y="225666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E77117DE-A16A-FD44-52ED-EF36F001A6FF}"/>
                </a:ext>
              </a:extLst>
            </p:cNvPr>
            <p:cNvSpPr>
              <a:spLocks noChangeAspect="1"/>
            </p:cNvSpPr>
            <p:nvPr/>
          </p:nvSpPr>
          <p:spPr>
            <a:xfrm rot="684917">
              <a:off x="5838290" y="2382801"/>
              <a:ext cx="5237542" cy="2649420"/>
            </a:xfrm>
            <a:custGeom>
              <a:avLst/>
              <a:gdLst>
                <a:gd name="connsiteX0" fmla="*/ 5297772 w 6337426"/>
                <a:gd name="connsiteY0" fmla="*/ 363376 h 3205798"/>
                <a:gd name="connsiteX1" fmla="*/ 5409332 w 6337426"/>
                <a:gd name="connsiteY1" fmla="*/ 417038 h 3205798"/>
                <a:gd name="connsiteX2" fmla="*/ 6337426 w 6337426"/>
                <a:gd name="connsiteY2" fmla="*/ 1602899 h 3205798"/>
                <a:gd name="connsiteX3" fmla="*/ 4110991 w 6337426"/>
                <a:gd name="connsiteY3" fmla="*/ 3204562 h 3205798"/>
                <a:gd name="connsiteX4" fmla="*/ 4101908 w 6337426"/>
                <a:gd name="connsiteY4" fmla="*/ 3205798 h 3205798"/>
                <a:gd name="connsiteX5" fmla="*/ 4282212 w 6337426"/>
                <a:gd name="connsiteY5" fmla="*/ 2969408 h 3205798"/>
                <a:gd name="connsiteX6" fmla="*/ 4627128 w 6337426"/>
                <a:gd name="connsiteY6" fmla="*/ 2430880 h 3205798"/>
                <a:gd name="connsiteX7" fmla="*/ 5289217 w 6337426"/>
                <a:gd name="connsiteY7" fmla="*/ 488994 h 3205798"/>
                <a:gd name="connsiteX8" fmla="*/ 1935307 w 6337426"/>
                <a:gd name="connsiteY8" fmla="*/ 57631 h 3205798"/>
                <a:gd name="connsiteX9" fmla="*/ 2226435 w 6337426"/>
                <a:gd name="connsiteY9" fmla="*/ 1236 h 3205798"/>
                <a:gd name="connsiteX10" fmla="*/ 2235517 w 6337426"/>
                <a:gd name="connsiteY10" fmla="*/ 0 h 3205798"/>
                <a:gd name="connsiteX11" fmla="*/ 2055213 w 6337426"/>
                <a:gd name="connsiteY11" fmla="*/ 236391 h 3205798"/>
                <a:gd name="connsiteX12" fmla="*/ 1710296 w 6337426"/>
                <a:gd name="connsiteY12" fmla="*/ 774918 h 3205798"/>
                <a:gd name="connsiteX13" fmla="*/ 1048208 w 6337426"/>
                <a:gd name="connsiteY13" fmla="*/ 2716805 h 3205798"/>
                <a:gd name="connsiteX14" fmla="*/ 1039653 w 6337426"/>
                <a:gd name="connsiteY14" fmla="*/ 2842421 h 3205798"/>
                <a:gd name="connsiteX15" fmla="*/ 928095 w 6337426"/>
                <a:gd name="connsiteY15" fmla="*/ 2788760 h 3205798"/>
                <a:gd name="connsiteX16" fmla="*/ 0 w 6337426"/>
                <a:gd name="connsiteY16" fmla="*/ 1602899 h 3205798"/>
                <a:gd name="connsiteX17" fmla="*/ 1935307 w 6337426"/>
                <a:gd name="connsiteY17" fmla="*/ 57631 h 3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5798">
                  <a:moveTo>
                    <a:pt x="5297772" y="363376"/>
                  </a:moveTo>
                  <a:lnTo>
                    <a:pt x="5409332" y="417038"/>
                  </a:lnTo>
                  <a:cubicBezTo>
                    <a:pt x="5982756" y="720526"/>
                    <a:pt x="6337426" y="1139791"/>
                    <a:pt x="6337426" y="1602899"/>
                  </a:cubicBezTo>
                  <a:cubicBezTo>
                    <a:pt x="6337426" y="2355449"/>
                    <a:pt x="5400875" y="2992227"/>
                    <a:pt x="4110991" y="3204562"/>
                  </a:cubicBezTo>
                  <a:lnTo>
                    <a:pt x="4101908" y="3205798"/>
                  </a:lnTo>
                  <a:lnTo>
                    <a:pt x="4282212" y="2969408"/>
                  </a:lnTo>
                  <a:cubicBezTo>
                    <a:pt x="4403480" y="2801055"/>
                    <a:pt x="4519127" y="2621115"/>
                    <a:pt x="4627128" y="2430880"/>
                  </a:cubicBezTo>
                  <a:cubicBezTo>
                    <a:pt x="5005132" y="1765060"/>
                    <a:pt x="5226843" y="1083440"/>
                    <a:pt x="5289217" y="488994"/>
                  </a:cubicBezTo>
                  <a:close/>
                  <a:moveTo>
                    <a:pt x="1935307" y="57631"/>
                  </a:moveTo>
                  <a:cubicBezTo>
                    <a:pt x="2030082" y="36415"/>
                    <a:pt x="2127213" y="17570"/>
                    <a:pt x="2226435" y="1236"/>
                  </a:cubicBezTo>
                  <a:lnTo>
                    <a:pt x="2235517" y="0"/>
                  </a:lnTo>
                  <a:lnTo>
                    <a:pt x="2055213" y="236391"/>
                  </a:lnTo>
                  <a:cubicBezTo>
                    <a:pt x="1933944" y="404744"/>
                    <a:pt x="1818297" y="584684"/>
                    <a:pt x="1710296" y="774918"/>
                  </a:cubicBezTo>
                  <a:cubicBezTo>
                    <a:pt x="1332293" y="1440739"/>
                    <a:pt x="1110581" y="2122359"/>
                    <a:pt x="1048208" y="2716805"/>
                  </a:cubicBezTo>
                  <a:lnTo>
                    <a:pt x="1039653" y="2842421"/>
                  </a:lnTo>
                  <a:lnTo>
                    <a:pt x="928095" y="2788760"/>
                  </a:lnTo>
                  <a:cubicBezTo>
                    <a:pt x="354670" y="2485272"/>
                    <a:pt x="0" y="2066007"/>
                    <a:pt x="0" y="1602899"/>
                  </a:cubicBezTo>
                  <a:cubicBezTo>
                    <a:pt x="0" y="908238"/>
                    <a:pt x="798008" y="312222"/>
                    <a:pt x="1935307" y="57631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B3121CF6-AF15-7CF2-0027-618033B16F68}"/>
                </a:ext>
              </a:extLst>
            </p:cNvPr>
            <p:cNvSpPr>
              <a:spLocks noChangeAspect="1"/>
            </p:cNvSpPr>
            <p:nvPr/>
          </p:nvSpPr>
          <p:spPr>
            <a:xfrm rot="4260000">
              <a:off x="5838290" y="2381185"/>
              <a:ext cx="5237542" cy="2652651"/>
            </a:xfrm>
            <a:custGeom>
              <a:avLst/>
              <a:gdLst>
                <a:gd name="connsiteX0" fmla="*/ 4087537 w 6337426"/>
                <a:gd name="connsiteY0" fmla="*/ 3209708 h 3209708"/>
                <a:gd name="connsiteX1" fmla="*/ 4262287 w 6337426"/>
                <a:gd name="connsiteY1" fmla="*/ 2987359 h 3209708"/>
                <a:gd name="connsiteX2" fmla="*/ 4614973 w 6337426"/>
                <a:gd name="connsiteY2" fmla="*/ 2453888 h 3209708"/>
                <a:gd name="connsiteX3" fmla="*/ 5305141 w 6337426"/>
                <a:gd name="connsiteY3" fmla="*/ 521803 h 3209708"/>
                <a:gd name="connsiteX4" fmla="*/ 5317302 w 6337426"/>
                <a:gd name="connsiteY4" fmla="*/ 374726 h 3209708"/>
                <a:gd name="connsiteX5" fmla="*/ 5409332 w 6337426"/>
                <a:gd name="connsiteY5" fmla="*/ 418993 h 3209708"/>
                <a:gd name="connsiteX6" fmla="*/ 6337426 w 6337426"/>
                <a:gd name="connsiteY6" fmla="*/ 1604854 h 3209708"/>
                <a:gd name="connsiteX7" fmla="*/ 4110991 w 6337426"/>
                <a:gd name="connsiteY7" fmla="*/ 3206516 h 3209708"/>
                <a:gd name="connsiteX8" fmla="*/ 64377 w 6337426"/>
                <a:gd name="connsiteY8" fmla="*/ 1266868 h 3209708"/>
                <a:gd name="connsiteX9" fmla="*/ 2226435 w 6337426"/>
                <a:gd name="connsiteY9" fmla="*/ 3191 h 3209708"/>
                <a:gd name="connsiteX10" fmla="*/ 2249888 w 6337426"/>
                <a:gd name="connsiteY10" fmla="*/ 0 h 3209708"/>
                <a:gd name="connsiteX11" fmla="*/ 2075138 w 6337426"/>
                <a:gd name="connsiteY11" fmla="*/ 222348 h 3209708"/>
                <a:gd name="connsiteX12" fmla="*/ 1722452 w 6337426"/>
                <a:gd name="connsiteY12" fmla="*/ 755819 h 3209708"/>
                <a:gd name="connsiteX13" fmla="*/ 1032284 w 6337426"/>
                <a:gd name="connsiteY13" fmla="*/ 2687904 h 3209708"/>
                <a:gd name="connsiteX14" fmla="*/ 1020123 w 6337426"/>
                <a:gd name="connsiteY14" fmla="*/ 2834982 h 3209708"/>
                <a:gd name="connsiteX15" fmla="*/ 928095 w 6337426"/>
                <a:gd name="connsiteY15" fmla="*/ 2790715 h 3209708"/>
                <a:gd name="connsiteX16" fmla="*/ 0 w 6337426"/>
                <a:gd name="connsiteY16" fmla="*/ 1604854 h 3209708"/>
                <a:gd name="connsiteX17" fmla="*/ 64377 w 6337426"/>
                <a:gd name="connsiteY17" fmla="*/ 1266868 h 32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9708">
                  <a:moveTo>
                    <a:pt x="4087537" y="3209708"/>
                  </a:moveTo>
                  <a:lnTo>
                    <a:pt x="4262287" y="2987359"/>
                  </a:lnTo>
                  <a:cubicBezTo>
                    <a:pt x="4385983" y="2820781"/>
                    <a:pt x="4504226" y="2642537"/>
                    <a:pt x="4614973" y="2453888"/>
                  </a:cubicBezTo>
                  <a:cubicBezTo>
                    <a:pt x="5002589" y="1793617"/>
                    <a:pt x="5234158" y="1115283"/>
                    <a:pt x="5305141" y="521803"/>
                  </a:cubicBezTo>
                  <a:lnTo>
                    <a:pt x="5317302" y="374726"/>
                  </a:lnTo>
                  <a:lnTo>
                    <a:pt x="5409332" y="418993"/>
                  </a:lnTo>
                  <a:cubicBezTo>
                    <a:pt x="5982756" y="722482"/>
                    <a:pt x="6337426" y="1141747"/>
                    <a:pt x="6337426" y="1604854"/>
                  </a:cubicBezTo>
                  <a:cubicBezTo>
                    <a:pt x="6337426" y="2357404"/>
                    <a:pt x="5400875" y="2994182"/>
                    <a:pt x="4110991" y="3206516"/>
                  </a:cubicBezTo>
                  <a:close/>
                  <a:moveTo>
                    <a:pt x="64377" y="1266868"/>
                  </a:moveTo>
                  <a:cubicBezTo>
                    <a:pt x="296533" y="666418"/>
                    <a:pt x="1134995" y="182859"/>
                    <a:pt x="2226435" y="3191"/>
                  </a:cubicBezTo>
                  <a:lnTo>
                    <a:pt x="2249888" y="0"/>
                  </a:lnTo>
                  <a:lnTo>
                    <a:pt x="2075138" y="222348"/>
                  </a:lnTo>
                  <a:cubicBezTo>
                    <a:pt x="1951443" y="388926"/>
                    <a:pt x="1833199" y="567170"/>
                    <a:pt x="1722452" y="755819"/>
                  </a:cubicBezTo>
                  <a:cubicBezTo>
                    <a:pt x="1334837" y="1416090"/>
                    <a:pt x="1103268" y="2094425"/>
                    <a:pt x="1032284" y="2687904"/>
                  </a:cubicBezTo>
                  <a:lnTo>
                    <a:pt x="1020123" y="2834982"/>
                  </a:lnTo>
                  <a:lnTo>
                    <a:pt x="928095" y="2790715"/>
                  </a:lnTo>
                  <a:cubicBezTo>
                    <a:pt x="354670" y="2487226"/>
                    <a:pt x="0" y="2067961"/>
                    <a:pt x="0" y="1604854"/>
                  </a:cubicBezTo>
                  <a:cubicBezTo>
                    <a:pt x="0" y="1489077"/>
                    <a:pt x="22167" y="1376040"/>
                    <a:pt x="64377" y="1266868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ederal_Govern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A2350B-DF58-9EEE-4BBF-D8DE544C794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929139" y="3168641"/>
            <a:ext cx="871002" cy="872858"/>
            <a:chOff x="8" y="8"/>
            <a:chExt cx="470" cy="471"/>
          </a:xfrm>
          <a:solidFill>
            <a:srgbClr val="7F7F7F"/>
          </a:solidFill>
        </p:grpSpPr>
        <p:sp>
          <p:nvSpPr>
            <p:cNvPr id="10" name="Federal_Government">
              <a:extLst>
                <a:ext uri="{FF2B5EF4-FFF2-40B4-BE49-F238E27FC236}">
                  <a16:creationId xmlns:a16="http://schemas.microsoft.com/office/drawing/2014/main" id="{7442E5CA-81A2-130B-7740-C69E4B80F6F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ederal_Government">
              <a:extLst>
                <a:ext uri="{FF2B5EF4-FFF2-40B4-BE49-F238E27FC236}">
                  <a16:creationId xmlns:a16="http://schemas.microsoft.com/office/drawing/2014/main" id="{3A2651A7-A732-0D0F-0B6B-5339246696E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ederal_Government">
              <a:extLst>
                <a:ext uri="{FF2B5EF4-FFF2-40B4-BE49-F238E27FC236}">
                  <a16:creationId xmlns:a16="http://schemas.microsoft.com/office/drawing/2014/main" id="{783AC9CE-A6D9-11DB-F5EA-10037A58F8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ederal_Government">
              <a:extLst>
                <a:ext uri="{FF2B5EF4-FFF2-40B4-BE49-F238E27FC236}">
                  <a16:creationId xmlns:a16="http://schemas.microsoft.com/office/drawing/2014/main" id="{AEF892F4-8AC9-43CC-AD94-57429791DB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ederal_Government">
              <a:extLst>
                <a:ext uri="{FF2B5EF4-FFF2-40B4-BE49-F238E27FC236}">
                  <a16:creationId xmlns:a16="http://schemas.microsoft.com/office/drawing/2014/main" id="{6487A5B0-A272-0A12-0540-510A790DE3F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ederal_Government">
              <a:extLst>
                <a:ext uri="{FF2B5EF4-FFF2-40B4-BE49-F238E27FC236}">
                  <a16:creationId xmlns:a16="http://schemas.microsoft.com/office/drawing/2014/main" id="{DB9B0FAE-6121-3041-414B-87FAE5510D5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56" name="Agrupar 22555">
            <a:extLst>
              <a:ext uri="{FF2B5EF4-FFF2-40B4-BE49-F238E27FC236}">
                <a16:creationId xmlns:a16="http://schemas.microsoft.com/office/drawing/2014/main" id="{CA705E00-DAFA-ECE0-AEB0-EB9DA843DCB4}"/>
              </a:ext>
            </a:extLst>
          </p:cNvPr>
          <p:cNvGrpSpPr/>
          <p:nvPr/>
        </p:nvGrpSpPr>
        <p:grpSpPr>
          <a:xfrm>
            <a:off x="654414" y="980728"/>
            <a:ext cx="3755062" cy="1489318"/>
            <a:chOff x="654414" y="1412776"/>
            <a:chExt cx="3755062" cy="1489318"/>
          </a:xfrm>
        </p:grpSpPr>
        <p:sp>
          <p:nvSpPr>
            <p:cNvPr id="16" name="TextBox 7">
              <a:extLst>
                <a:ext uri="{FF2B5EF4-FFF2-40B4-BE49-F238E27FC236}">
                  <a16:creationId xmlns:a16="http://schemas.microsoft.com/office/drawing/2014/main" id="{7B53A3B8-3BBD-4C56-D915-DA2B8ECFE5E5}"/>
                </a:ext>
              </a:extLst>
            </p:cNvPr>
            <p:cNvSpPr txBox="1"/>
            <p:nvPr/>
          </p:nvSpPr>
          <p:spPr>
            <a:xfrm>
              <a:off x="1215899" y="1412776"/>
              <a:ext cx="3193577" cy="148931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Utilizado para representar um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cenário</a:t>
              </a:r>
              <a:r>
                <a:rPr lang="pt-BR" altLang="pt-BR" sz="2400" dirty="0">
                  <a:latin typeface="Gotham HTF"/>
                </a:rPr>
                <a:t>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para um determinado caso de uso.</a:t>
              </a:r>
            </a:p>
          </p:txBody>
        </p:sp>
        <p:sp>
          <p:nvSpPr>
            <p:cNvPr id="17" name="Rectangle 51">
              <a:extLst>
                <a:ext uri="{FF2B5EF4-FFF2-40B4-BE49-F238E27FC236}">
                  <a16:creationId xmlns:a16="http://schemas.microsoft.com/office/drawing/2014/main" id="{9B106413-BFA5-B4BC-9B6D-694221FE29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4" y="1667982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4472C4"/>
                  </a:solidFill>
                  <a:latin typeface="Calibri" panose="020F0502020204030204"/>
                </a:rPr>
                <a:t>1</a:t>
              </a:r>
            </a:p>
          </p:txBody>
        </p:sp>
      </p:grpSp>
      <p:grpSp>
        <p:nvGrpSpPr>
          <p:cNvPr id="22557" name="Agrupar 22556">
            <a:extLst>
              <a:ext uri="{FF2B5EF4-FFF2-40B4-BE49-F238E27FC236}">
                <a16:creationId xmlns:a16="http://schemas.microsoft.com/office/drawing/2014/main" id="{88DD3D81-93BD-B146-EA38-AB43447281C0}"/>
              </a:ext>
            </a:extLst>
          </p:cNvPr>
          <p:cNvGrpSpPr/>
          <p:nvPr/>
        </p:nvGrpSpPr>
        <p:grpSpPr>
          <a:xfrm>
            <a:off x="654413" y="2979372"/>
            <a:ext cx="3755063" cy="935321"/>
            <a:chOff x="654413" y="3411420"/>
            <a:chExt cx="3755063" cy="935321"/>
          </a:xfrm>
        </p:grpSpPr>
        <p:sp>
          <p:nvSpPr>
            <p:cNvPr id="18" name="Rectangle 52">
              <a:extLst>
                <a:ext uri="{FF2B5EF4-FFF2-40B4-BE49-F238E27FC236}">
                  <a16:creationId xmlns:a16="http://schemas.microsoft.com/office/drawing/2014/main" id="{EFA85EE5-5DA8-1B6E-071E-CB51141F12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3" y="3551210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ED7D31"/>
                  </a:solidFill>
                  <a:latin typeface="Calibri" panose="020F0502020204030204"/>
                </a:rPr>
                <a:t>2</a:t>
              </a:r>
            </a:p>
          </p:txBody>
        </p:sp>
        <p:sp>
          <p:nvSpPr>
            <p:cNvPr id="20" name="TextBox 54">
              <a:extLst>
                <a:ext uri="{FF2B5EF4-FFF2-40B4-BE49-F238E27FC236}">
                  <a16:creationId xmlns:a16="http://schemas.microsoft.com/office/drawing/2014/main" id="{91FDC69A-A246-72F4-8935-8ECB236F682D}"/>
                </a:ext>
              </a:extLst>
            </p:cNvPr>
            <p:cNvSpPr txBox="1"/>
            <p:nvPr/>
          </p:nvSpPr>
          <p:spPr>
            <a:xfrm>
              <a:off x="1215899" y="3411420"/>
              <a:ext cx="3193577" cy="93532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Mostra os eventos que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partem do ator e chegam ao sistema</a:t>
              </a:r>
              <a:r>
                <a:rPr lang="pt-BR" altLang="pt-BR" sz="2400" dirty="0">
                  <a:latin typeface="Gotham HTF"/>
                </a:rPr>
                <a:t>.</a:t>
              </a:r>
            </a:p>
          </p:txBody>
        </p:sp>
      </p:grpSp>
      <p:grpSp>
        <p:nvGrpSpPr>
          <p:cNvPr id="22" name="Competi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D0670C8-3E54-5FC4-C726-E121553C8077}"/>
              </a:ext>
            </a:extLst>
          </p:cNvPr>
          <p:cNvGrpSpPr>
            <a:grpSpLocks noChangeAspect="1"/>
          </p:cNvGrpSpPr>
          <p:nvPr/>
        </p:nvGrpSpPr>
        <p:grpSpPr>
          <a:xfrm>
            <a:off x="5091837" y="4550564"/>
            <a:ext cx="475493" cy="322748"/>
            <a:chOff x="4151313" y="1438275"/>
            <a:chExt cx="874713" cy="593725"/>
          </a:xfrm>
        </p:grpSpPr>
        <p:sp>
          <p:nvSpPr>
            <p:cNvPr id="23" name="Oval 2290">
              <a:extLst>
                <a:ext uri="{FF2B5EF4-FFF2-40B4-BE49-F238E27FC236}">
                  <a16:creationId xmlns:a16="http://schemas.microsoft.com/office/drawing/2014/main" id="{447E086C-0229-C044-F3D3-3BB5C961F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63" y="1438275"/>
              <a:ext cx="98425" cy="98425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val 2293">
              <a:extLst>
                <a:ext uri="{FF2B5EF4-FFF2-40B4-BE49-F238E27FC236}">
                  <a16:creationId xmlns:a16="http://schemas.microsoft.com/office/drawing/2014/main" id="{AFEFBCD1-E299-5427-82AE-9BD5D6EC4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295">
              <a:extLst>
                <a:ext uri="{FF2B5EF4-FFF2-40B4-BE49-F238E27FC236}">
                  <a16:creationId xmlns:a16="http://schemas.microsoft.com/office/drawing/2014/main" id="{60702C78-2149-58B6-49BD-88EE0A3BB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1568450"/>
              <a:ext cx="509588" cy="463550"/>
            </a:xfrm>
            <a:custGeom>
              <a:avLst/>
              <a:gdLst>
                <a:gd name="T0" fmla="*/ 251 w 457"/>
                <a:gd name="T1" fmla="*/ 185 h 416"/>
                <a:gd name="T2" fmla="*/ 289 w 457"/>
                <a:gd name="T3" fmla="*/ 86 h 416"/>
                <a:gd name="T4" fmla="*/ 326 w 457"/>
                <a:gd name="T5" fmla="*/ 135 h 416"/>
                <a:gd name="T6" fmla="*/ 346 w 457"/>
                <a:gd name="T7" fmla="*/ 145 h 416"/>
                <a:gd name="T8" fmla="*/ 352 w 457"/>
                <a:gd name="T9" fmla="*/ 144 h 416"/>
                <a:gd name="T10" fmla="*/ 434 w 457"/>
                <a:gd name="T11" fmla="*/ 126 h 416"/>
                <a:gd name="T12" fmla="*/ 456 w 457"/>
                <a:gd name="T13" fmla="*/ 100 h 416"/>
                <a:gd name="T14" fmla="*/ 425 w 457"/>
                <a:gd name="T15" fmla="*/ 76 h 416"/>
                <a:gd name="T16" fmla="*/ 357 w 457"/>
                <a:gd name="T17" fmla="*/ 91 h 416"/>
                <a:gd name="T18" fmla="*/ 306 w 457"/>
                <a:gd name="T19" fmla="*/ 23 h 416"/>
                <a:gd name="T20" fmla="*/ 259 w 457"/>
                <a:gd name="T21" fmla="*/ 0 h 416"/>
                <a:gd name="T22" fmla="*/ 144 w 457"/>
                <a:gd name="T23" fmla="*/ 0 h 416"/>
                <a:gd name="T24" fmla="*/ 121 w 457"/>
                <a:gd name="T25" fmla="*/ 13 h 416"/>
                <a:gd name="T26" fmla="*/ 79 w 457"/>
                <a:gd name="T27" fmla="*/ 105 h 416"/>
                <a:gd name="T28" fmla="*/ 88 w 457"/>
                <a:gd name="T29" fmla="*/ 139 h 416"/>
                <a:gd name="T30" fmla="*/ 101 w 457"/>
                <a:gd name="T31" fmla="*/ 143 h 416"/>
                <a:gd name="T32" fmla="*/ 123 w 457"/>
                <a:gd name="T33" fmla="*/ 130 h 416"/>
                <a:gd name="T34" fmla="*/ 159 w 457"/>
                <a:gd name="T35" fmla="*/ 52 h 416"/>
                <a:gd name="T36" fmla="*/ 211 w 457"/>
                <a:gd name="T37" fmla="*/ 52 h 416"/>
                <a:gd name="T38" fmla="*/ 130 w 457"/>
                <a:gd name="T39" fmla="*/ 266 h 416"/>
                <a:gd name="T40" fmla="*/ 26 w 457"/>
                <a:gd name="T41" fmla="*/ 266 h 416"/>
                <a:gd name="T42" fmla="*/ 0 w 457"/>
                <a:gd name="T43" fmla="*/ 291 h 416"/>
                <a:gd name="T44" fmla="*/ 26 w 457"/>
                <a:gd name="T45" fmla="*/ 317 h 416"/>
                <a:gd name="T46" fmla="*/ 157 w 457"/>
                <a:gd name="T47" fmla="*/ 317 h 416"/>
                <a:gd name="T48" fmla="*/ 181 w 457"/>
                <a:gd name="T49" fmla="*/ 300 h 416"/>
                <a:gd name="T50" fmla="*/ 209 w 457"/>
                <a:gd name="T51" fmla="*/ 228 h 416"/>
                <a:gd name="T52" fmla="*/ 286 w 457"/>
                <a:gd name="T53" fmla="*/ 295 h 416"/>
                <a:gd name="T54" fmla="*/ 323 w 457"/>
                <a:gd name="T55" fmla="*/ 399 h 416"/>
                <a:gd name="T56" fmla="*/ 347 w 457"/>
                <a:gd name="T57" fmla="*/ 416 h 416"/>
                <a:gd name="T58" fmla="*/ 355 w 457"/>
                <a:gd name="T59" fmla="*/ 415 h 416"/>
                <a:gd name="T60" fmla="*/ 371 w 457"/>
                <a:gd name="T61" fmla="*/ 382 h 416"/>
                <a:gd name="T62" fmla="*/ 326 w 457"/>
                <a:gd name="T63" fmla="*/ 255 h 416"/>
                <a:gd name="T64" fmla="*/ 319 w 457"/>
                <a:gd name="T65" fmla="*/ 244 h 416"/>
                <a:gd name="T66" fmla="*/ 251 w 457"/>
                <a:gd name="T67" fmla="*/ 18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7" h="416">
                  <a:moveTo>
                    <a:pt x="251" y="185"/>
                  </a:moveTo>
                  <a:lnTo>
                    <a:pt x="289" y="86"/>
                  </a:lnTo>
                  <a:lnTo>
                    <a:pt x="326" y="135"/>
                  </a:lnTo>
                  <a:cubicBezTo>
                    <a:pt x="331" y="141"/>
                    <a:pt x="338" y="145"/>
                    <a:pt x="346" y="145"/>
                  </a:cubicBezTo>
                  <a:cubicBezTo>
                    <a:pt x="348" y="145"/>
                    <a:pt x="350" y="145"/>
                    <a:pt x="352" y="144"/>
                  </a:cubicBezTo>
                  <a:lnTo>
                    <a:pt x="434" y="126"/>
                  </a:lnTo>
                  <a:cubicBezTo>
                    <a:pt x="447" y="124"/>
                    <a:pt x="457" y="113"/>
                    <a:pt x="456" y="100"/>
                  </a:cubicBezTo>
                  <a:cubicBezTo>
                    <a:pt x="455" y="84"/>
                    <a:pt x="440" y="73"/>
                    <a:pt x="425" y="76"/>
                  </a:cubicBezTo>
                  <a:lnTo>
                    <a:pt x="357" y="91"/>
                  </a:lnTo>
                  <a:lnTo>
                    <a:pt x="306" y="23"/>
                  </a:lnTo>
                  <a:cubicBezTo>
                    <a:pt x="295" y="9"/>
                    <a:pt x="278" y="0"/>
                    <a:pt x="259" y="0"/>
                  </a:cubicBezTo>
                  <a:lnTo>
                    <a:pt x="144" y="0"/>
                  </a:lnTo>
                  <a:cubicBezTo>
                    <a:pt x="135" y="0"/>
                    <a:pt x="126" y="5"/>
                    <a:pt x="121" y="13"/>
                  </a:cubicBezTo>
                  <a:lnTo>
                    <a:pt x="79" y="105"/>
                  </a:lnTo>
                  <a:cubicBezTo>
                    <a:pt x="72" y="117"/>
                    <a:pt x="76" y="133"/>
                    <a:pt x="88" y="139"/>
                  </a:cubicBezTo>
                  <a:cubicBezTo>
                    <a:pt x="92" y="142"/>
                    <a:pt x="97" y="143"/>
                    <a:pt x="101" y="143"/>
                  </a:cubicBezTo>
                  <a:cubicBezTo>
                    <a:pt x="110" y="143"/>
                    <a:pt x="119" y="138"/>
                    <a:pt x="123" y="130"/>
                  </a:cubicBezTo>
                  <a:lnTo>
                    <a:pt x="159" y="52"/>
                  </a:lnTo>
                  <a:lnTo>
                    <a:pt x="211" y="52"/>
                  </a:lnTo>
                  <a:lnTo>
                    <a:pt x="130" y="266"/>
                  </a:lnTo>
                  <a:lnTo>
                    <a:pt x="26" y="266"/>
                  </a:lnTo>
                  <a:cubicBezTo>
                    <a:pt x="12" y="266"/>
                    <a:pt x="0" y="277"/>
                    <a:pt x="0" y="291"/>
                  </a:cubicBezTo>
                  <a:cubicBezTo>
                    <a:pt x="0" y="306"/>
                    <a:pt x="12" y="317"/>
                    <a:pt x="26" y="317"/>
                  </a:cubicBezTo>
                  <a:lnTo>
                    <a:pt x="157" y="317"/>
                  </a:lnTo>
                  <a:cubicBezTo>
                    <a:pt x="167" y="317"/>
                    <a:pt x="177" y="310"/>
                    <a:pt x="181" y="300"/>
                  </a:cubicBezTo>
                  <a:lnTo>
                    <a:pt x="209" y="228"/>
                  </a:lnTo>
                  <a:lnTo>
                    <a:pt x="286" y="295"/>
                  </a:lnTo>
                  <a:lnTo>
                    <a:pt x="323" y="399"/>
                  </a:lnTo>
                  <a:cubicBezTo>
                    <a:pt x="326" y="410"/>
                    <a:pt x="336" y="416"/>
                    <a:pt x="347" y="416"/>
                  </a:cubicBezTo>
                  <a:cubicBezTo>
                    <a:pt x="350" y="416"/>
                    <a:pt x="352" y="416"/>
                    <a:pt x="355" y="415"/>
                  </a:cubicBezTo>
                  <a:cubicBezTo>
                    <a:pt x="368" y="410"/>
                    <a:pt x="376" y="396"/>
                    <a:pt x="371" y="382"/>
                  </a:cubicBezTo>
                  <a:lnTo>
                    <a:pt x="326" y="255"/>
                  </a:lnTo>
                  <a:cubicBezTo>
                    <a:pt x="325" y="251"/>
                    <a:pt x="322" y="247"/>
                    <a:pt x="319" y="244"/>
                  </a:cubicBezTo>
                  <a:lnTo>
                    <a:pt x="251" y="185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60">
              <a:extLst>
                <a:ext uri="{FF2B5EF4-FFF2-40B4-BE49-F238E27FC236}">
                  <a16:creationId xmlns:a16="http://schemas.microsoft.com/office/drawing/2014/main" id="{1F2C18FF-4DD5-904D-73DC-0ED8A6D9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1566863"/>
              <a:ext cx="800649" cy="465137"/>
            </a:xfrm>
            <a:custGeom>
              <a:avLst/>
              <a:gdLst>
                <a:gd name="connsiteX0" fmla="*/ 469397 w 800649"/>
                <a:gd name="connsiteY0" fmla="*/ 59531 h 465137"/>
                <a:gd name="connsiteX1" fmla="*/ 457836 w 800649"/>
                <a:gd name="connsiteY1" fmla="*/ 84561 h 465137"/>
                <a:gd name="connsiteX2" fmla="*/ 467092 w 800649"/>
                <a:gd name="connsiteY2" fmla="*/ 82519 h 465137"/>
                <a:gd name="connsiteX3" fmla="*/ 500535 w 800649"/>
                <a:gd name="connsiteY3" fmla="*/ 109282 h 465137"/>
                <a:gd name="connsiteX4" fmla="*/ 477125 w 800649"/>
                <a:gd name="connsiteY4" fmla="*/ 138275 h 465137"/>
                <a:gd name="connsiteX5" fmla="*/ 427146 w 800649"/>
                <a:gd name="connsiteY5" fmla="*/ 148640 h 465137"/>
                <a:gd name="connsiteX6" fmla="*/ 419079 w 800649"/>
                <a:gd name="connsiteY6" fmla="*/ 157032 h 465137"/>
                <a:gd name="connsiteX7" fmla="*/ 404723 w 800649"/>
                <a:gd name="connsiteY7" fmla="*/ 160932 h 465137"/>
                <a:gd name="connsiteX8" fmla="*/ 390227 w 800649"/>
                <a:gd name="connsiteY8" fmla="*/ 156475 h 465137"/>
                <a:gd name="connsiteX9" fmla="*/ 390106 w 800649"/>
                <a:gd name="connsiteY9" fmla="*/ 156321 h 465137"/>
                <a:gd name="connsiteX10" fmla="*/ 385713 w 800649"/>
                <a:gd name="connsiteY10" fmla="*/ 157232 h 465137"/>
                <a:gd name="connsiteX11" fmla="*/ 380139 w 800649"/>
                <a:gd name="connsiteY11" fmla="*/ 158347 h 465137"/>
                <a:gd name="connsiteX12" fmla="*/ 357844 w 800649"/>
                <a:gd name="connsiteY12" fmla="*/ 147196 h 465137"/>
                <a:gd name="connsiteX13" fmla="*/ 316597 w 800649"/>
                <a:gd name="connsiteY13" fmla="*/ 93670 h 465137"/>
                <a:gd name="connsiteX14" fmla="*/ 275350 w 800649"/>
                <a:gd name="connsiteY14" fmla="*/ 202952 h 465137"/>
                <a:gd name="connsiteX15" fmla="*/ 350040 w 800649"/>
                <a:gd name="connsiteY15" fmla="*/ 267629 h 465137"/>
                <a:gd name="connsiteX16" fmla="*/ 357844 w 800649"/>
                <a:gd name="connsiteY16" fmla="*/ 279896 h 465137"/>
                <a:gd name="connsiteX17" fmla="*/ 364212 w 800649"/>
                <a:gd name="connsiteY17" fmla="*/ 297992 h 465137"/>
                <a:gd name="connsiteX18" fmla="*/ 437060 w 800649"/>
                <a:gd name="connsiteY18" fmla="*/ 297992 h 465137"/>
                <a:gd name="connsiteX19" fmla="*/ 527380 w 800649"/>
                <a:gd name="connsiteY19" fmla="*/ 59531 h 465137"/>
                <a:gd name="connsiteX20" fmla="*/ 157183 w 800649"/>
                <a:gd name="connsiteY20" fmla="*/ 0 h 465137"/>
                <a:gd name="connsiteX21" fmla="*/ 284268 w 800649"/>
                <a:gd name="connsiteY21" fmla="*/ 0 h 465137"/>
                <a:gd name="connsiteX22" fmla="*/ 335548 w 800649"/>
                <a:gd name="connsiteY22" fmla="*/ 24533 h 465137"/>
                <a:gd name="connsiteX23" fmla="*/ 389886 w 800649"/>
                <a:gd name="connsiteY23" fmla="*/ 97367 h 465137"/>
                <a:gd name="connsiteX24" fmla="*/ 427024 w 800649"/>
                <a:gd name="connsiteY24" fmla="*/ 16073 h 465137"/>
                <a:gd name="connsiteX25" fmla="*/ 452671 w 800649"/>
                <a:gd name="connsiteY25" fmla="*/ 1587 h 465137"/>
                <a:gd name="connsiteX26" fmla="*/ 580904 w 800649"/>
                <a:gd name="connsiteY26" fmla="*/ 1587 h 465137"/>
                <a:gd name="connsiteX27" fmla="*/ 633312 w 800649"/>
                <a:gd name="connsiteY27" fmla="*/ 27216 h 465137"/>
                <a:gd name="connsiteX28" fmla="*/ 690181 w 800649"/>
                <a:gd name="connsiteY28" fmla="*/ 102989 h 465137"/>
                <a:gd name="connsiteX29" fmla="*/ 766006 w 800649"/>
                <a:gd name="connsiteY29" fmla="*/ 86274 h 465137"/>
                <a:gd name="connsiteX30" fmla="*/ 800573 w 800649"/>
                <a:gd name="connsiteY30" fmla="*/ 113017 h 465137"/>
                <a:gd name="connsiteX31" fmla="*/ 776042 w 800649"/>
                <a:gd name="connsiteY31" fmla="*/ 141989 h 465137"/>
                <a:gd name="connsiteX32" fmla="*/ 684606 w 800649"/>
                <a:gd name="connsiteY32" fmla="*/ 162047 h 465137"/>
                <a:gd name="connsiteX33" fmla="*/ 677915 w 800649"/>
                <a:gd name="connsiteY33" fmla="*/ 163161 h 465137"/>
                <a:gd name="connsiteX34" fmla="*/ 655614 w 800649"/>
                <a:gd name="connsiteY34" fmla="*/ 152018 h 465137"/>
                <a:gd name="connsiteX35" fmla="*/ 614356 w 800649"/>
                <a:gd name="connsiteY35" fmla="*/ 97417 h 465137"/>
                <a:gd name="connsiteX36" fmla="*/ 571983 w 800649"/>
                <a:gd name="connsiteY36" fmla="*/ 207733 h 465137"/>
                <a:gd name="connsiteX37" fmla="*/ 647808 w 800649"/>
                <a:gd name="connsiteY37" fmla="*/ 273477 h 465137"/>
                <a:gd name="connsiteX38" fmla="*/ 655614 w 800649"/>
                <a:gd name="connsiteY38" fmla="*/ 285734 h 465137"/>
                <a:gd name="connsiteX39" fmla="*/ 705792 w 800649"/>
                <a:gd name="connsiteY39" fmla="*/ 427251 h 465137"/>
                <a:gd name="connsiteX40" fmla="*/ 687951 w 800649"/>
                <a:gd name="connsiteY40" fmla="*/ 464023 h 465137"/>
                <a:gd name="connsiteX41" fmla="*/ 679030 w 800649"/>
                <a:gd name="connsiteY41" fmla="*/ 465137 h 465137"/>
                <a:gd name="connsiteX42" fmla="*/ 652269 w 800649"/>
                <a:gd name="connsiteY42" fmla="*/ 446194 h 465137"/>
                <a:gd name="connsiteX43" fmla="*/ 611011 w 800649"/>
                <a:gd name="connsiteY43" fmla="*/ 330306 h 465137"/>
                <a:gd name="connsiteX44" fmla="*/ 525150 w 800649"/>
                <a:gd name="connsiteY44" fmla="*/ 255648 h 465137"/>
                <a:gd name="connsiteX45" fmla="*/ 493928 w 800649"/>
                <a:gd name="connsiteY45" fmla="*/ 335878 h 465137"/>
                <a:gd name="connsiteX46" fmla="*/ 467167 w 800649"/>
                <a:gd name="connsiteY46" fmla="*/ 354821 h 465137"/>
                <a:gd name="connsiteX47" fmla="*/ 384209 w 800649"/>
                <a:gd name="connsiteY47" fmla="*/ 354821 h 465137"/>
                <a:gd name="connsiteX48" fmla="*/ 406894 w 800649"/>
                <a:gd name="connsiteY48" fmla="*/ 419286 h 465137"/>
                <a:gd name="connsiteX49" fmla="*/ 390172 w 800649"/>
                <a:gd name="connsiteY49" fmla="*/ 456085 h 465137"/>
                <a:gd name="connsiteX50" fmla="*/ 381254 w 800649"/>
                <a:gd name="connsiteY50" fmla="*/ 457200 h 465137"/>
                <a:gd name="connsiteX51" fmla="*/ 354500 w 800649"/>
                <a:gd name="connsiteY51" fmla="*/ 438243 h 465137"/>
                <a:gd name="connsiteX52" fmla="*/ 325352 w 800649"/>
                <a:gd name="connsiteY52" fmla="*/ 354821 h 465137"/>
                <a:gd name="connsiteX53" fmla="*/ 321092 w 800649"/>
                <a:gd name="connsiteY53" fmla="*/ 354821 h 465137"/>
                <a:gd name="connsiteX54" fmla="*/ 292100 w 800649"/>
                <a:gd name="connsiteY54" fmla="*/ 325849 h 465137"/>
                <a:gd name="connsiteX55" fmla="*/ 298952 w 800649"/>
                <a:gd name="connsiteY55" fmla="*/ 310168 h 465137"/>
                <a:gd name="connsiteX56" fmla="*/ 228529 w 800649"/>
                <a:gd name="connsiteY56" fmla="*/ 249787 h 465137"/>
                <a:gd name="connsiteX57" fmla="*/ 198430 w 800649"/>
                <a:gd name="connsiteY57" fmla="*/ 330076 h 465137"/>
                <a:gd name="connsiteX58" fmla="*/ 171676 w 800649"/>
                <a:gd name="connsiteY58" fmla="*/ 347918 h 465137"/>
                <a:gd name="connsiteX59" fmla="*/ 27869 w 800649"/>
                <a:gd name="connsiteY59" fmla="*/ 347918 h 465137"/>
                <a:gd name="connsiteX60" fmla="*/ 0 w 800649"/>
                <a:gd name="connsiteY60" fmla="*/ 320040 h 465137"/>
                <a:gd name="connsiteX61" fmla="*/ 27869 w 800649"/>
                <a:gd name="connsiteY61" fmla="*/ 292162 h 465137"/>
                <a:gd name="connsiteX62" fmla="*/ 141577 w 800649"/>
                <a:gd name="connsiteY62" fmla="*/ 292162 h 465137"/>
                <a:gd name="connsiteX63" fmla="*/ 230759 w 800649"/>
                <a:gd name="connsiteY63" fmla="*/ 55756 h 465137"/>
                <a:gd name="connsiteX64" fmla="*/ 173905 w 800649"/>
                <a:gd name="connsiteY64" fmla="*/ 55756 h 465137"/>
                <a:gd name="connsiteX65" fmla="*/ 134888 w 800649"/>
                <a:gd name="connsiteY65" fmla="*/ 141621 h 465137"/>
                <a:gd name="connsiteX66" fmla="*/ 110363 w 800649"/>
                <a:gd name="connsiteY66" fmla="*/ 156117 h 465137"/>
                <a:gd name="connsiteX67" fmla="*/ 96985 w 800649"/>
                <a:gd name="connsiteY67" fmla="*/ 152772 h 465137"/>
                <a:gd name="connsiteX68" fmla="*/ 85838 w 800649"/>
                <a:gd name="connsiteY68" fmla="*/ 114858 h 465137"/>
                <a:gd name="connsiteX69" fmla="*/ 132658 w 800649"/>
                <a:gd name="connsiteY69" fmla="*/ 14497 h 465137"/>
                <a:gd name="connsiteX70" fmla="*/ 157183 w 800649"/>
                <a:gd name="connsiteY70" fmla="*/ 0 h 4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00649" h="465137">
                  <a:moveTo>
                    <a:pt x="469397" y="59531"/>
                  </a:moveTo>
                  <a:lnTo>
                    <a:pt x="457836" y="84561"/>
                  </a:lnTo>
                  <a:lnTo>
                    <a:pt x="467092" y="82519"/>
                  </a:lnTo>
                  <a:cubicBezTo>
                    <a:pt x="483814" y="79174"/>
                    <a:pt x="499421" y="91440"/>
                    <a:pt x="500535" y="109282"/>
                  </a:cubicBezTo>
                  <a:cubicBezTo>
                    <a:pt x="501650" y="122663"/>
                    <a:pt x="490502" y="134930"/>
                    <a:pt x="477125" y="138275"/>
                  </a:cubicBezTo>
                  <a:lnTo>
                    <a:pt x="427146" y="148640"/>
                  </a:lnTo>
                  <a:lnTo>
                    <a:pt x="419079" y="157032"/>
                  </a:lnTo>
                  <a:cubicBezTo>
                    <a:pt x="414758" y="159539"/>
                    <a:pt x="409741" y="160932"/>
                    <a:pt x="404723" y="160932"/>
                  </a:cubicBezTo>
                  <a:cubicBezTo>
                    <a:pt x="400262" y="160932"/>
                    <a:pt x="394687" y="159818"/>
                    <a:pt x="390227" y="156475"/>
                  </a:cubicBezTo>
                  <a:lnTo>
                    <a:pt x="390106" y="156321"/>
                  </a:lnTo>
                  <a:lnTo>
                    <a:pt x="385713" y="157232"/>
                  </a:lnTo>
                  <a:cubicBezTo>
                    <a:pt x="384599" y="158347"/>
                    <a:pt x="382369" y="158347"/>
                    <a:pt x="380139" y="158347"/>
                  </a:cubicBezTo>
                  <a:cubicBezTo>
                    <a:pt x="371221" y="158347"/>
                    <a:pt x="363418" y="153887"/>
                    <a:pt x="357844" y="147196"/>
                  </a:cubicBezTo>
                  <a:lnTo>
                    <a:pt x="316597" y="93670"/>
                  </a:lnTo>
                  <a:lnTo>
                    <a:pt x="275350" y="202952"/>
                  </a:lnTo>
                  <a:lnTo>
                    <a:pt x="350040" y="267629"/>
                  </a:lnTo>
                  <a:cubicBezTo>
                    <a:pt x="353385" y="270975"/>
                    <a:pt x="356729" y="275435"/>
                    <a:pt x="357844" y="279896"/>
                  </a:cubicBezTo>
                  <a:lnTo>
                    <a:pt x="364212" y="297992"/>
                  </a:lnTo>
                  <a:lnTo>
                    <a:pt x="437060" y="297992"/>
                  </a:lnTo>
                  <a:lnTo>
                    <a:pt x="527380" y="59531"/>
                  </a:lnTo>
                  <a:close/>
                  <a:moveTo>
                    <a:pt x="157183" y="0"/>
                  </a:moveTo>
                  <a:lnTo>
                    <a:pt x="284268" y="0"/>
                  </a:lnTo>
                  <a:cubicBezTo>
                    <a:pt x="304335" y="0"/>
                    <a:pt x="323286" y="8921"/>
                    <a:pt x="335548" y="24533"/>
                  </a:cubicBezTo>
                  <a:lnTo>
                    <a:pt x="389886" y="97367"/>
                  </a:lnTo>
                  <a:lnTo>
                    <a:pt x="427024" y="16073"/>
                  </a:lnTo>
                  <a:cubicBezTo>
                    <a:pt x="432599" y="7159"/>
                    <a:pt x="442635" y="1587"/>
                    <a:pt x="452671" y="1587"/>
                  </a:cubicBezTo>
                  <a:lnTo>
                    <a:pt x="580904" y="1587"/>
                  </a:lnTo>
                  <a:cubicBezTo>
                    <a:pt x="602090" y="1587"/>
                    <a:pt x="621047" y="11616"/>
                    <a:pt x="633312" y="27216"/>
                  </a:cubicBezTo>
                  <a:lnTo>
                    <a:pt x="690181" y="102989"/>
                  </a:lnTo>
                  <a:lnTo>
                    <a:pt x="766006" y="86274"/>
                  </a:lnTo>
                  <a:cubicBezTo>
                    <a:pt x="782732" y="82931"/>
                    <a:pt x="799458" y="95189"/>
                    <a:pt x="800573" y="113017"/>
                  </a:cubicBezTo>
                  <a:cubicBezTo>
                    <a:pt x="801688" y="127503"/>
                    <a:pt x="790538" y="139761"/>
                    <a:pt x="776042" y="141989"/>
                  </a:cubicBezTo>
                  <a:lnTo>
                    <a:pt x="684606" y="162047"/>
                  </a:lnTo>
                  <a:cubicBezTo>
                    <a:pt x="682376" y="163161"/>
                    <a:pt x="680145" y="163161"/>
                    <a:pt x="677915" y="163161"/>
                  </a:cubicBezTo>
                  <a:cubicBezTo>
                    <a:pt x="668995" y="163161"/>
                    <a:pt x="661189" y="158704"/>
                    <a:pt x="655614" y="152018"/>
                  </a:cubicBezTo>
                  <a:lnTo>
                    <a:pt x="614356" y="97417"/>
                  </a:lnTo>
                  <a:lnTo>
                    <a:pt x="571983" y="207733"/>
                  </a:lnTo>
                  <a:lnTo>
                    <a:pt x="647808" y="273477"/>
                  </a:lnTo>
                  <a:cubicBezTo>
                    <a:pt x="651153" y="276820"/>
                    <a:pt x="654499" y="281277"/>
                    <a:pt x="655614" y="285734"/>
                  </a:cubicBezTo>
                  <a:lnTo>
                    <a:pt x="705792" y="427251"/>
                  </a:lnTo>
                  <a:cubicBezTo>
                    <a:pt x="711367" y="442851"/>
                    <a:pt x="702447" y="458451"/>
                    <a:pt x="687951" y="464023"/>
                  </a:cubicBezTo>
                  <a:cubicBezTo>
                    <a:pt x="684606" y="465137"/>
                    <a:pt x="682376" y="465137"/>
                    <a:pt x="679030" y="465137"/>
                  </a:cubicBezTo>
                  <a:cubicBezTo>
                    <a:pt x="666764" y="465137"/>
                    <a:pt x="655614" y="458451"/>
                    <a:pt x="652269" y="446194"/>
                  </a:cubicBezTo>
                  <a:lnTo>
                    <a:pt x="611011" y="330306"/>
                  </a:lnTo>
                  <a:lnTo>
                    <a:pt x="525150" y="255648"/>
                  </a:lnTo>
                  <a:lnTo>
                    <a:pt x="493928" y="335878"/>
                  </a:lnTo>
                  <a:cubicBezTo>
                    <a:pt x="489468" y="347021"/>
                    <a:pt x="478317" y="354821"/>
                    <a:pt x="467167" y="354821"/>
                  </a:cubicBezTo>
                  <a:lnTo>
                    <a:pt x="384209" y="354821"/>
                  </a:lnTo>
                  <a:lnTo>
                    <a:pt x="406894" y="419286"/>
                  </a:lnTo>
                  <a:cubicBezTo>
                    <a:pt x="412468" y="434898"/>
                    <a:pt x="404665" y="450509"/>
                    <a:pt x="390172" y="456085"/>
                  </a:cubicBezTo>
                  <a:cubicBezTo>
                    <a:pt x="386828" y="457200"/>
                    <a:pt x="383484" y="457200"/>
                    <a:pt x="381254" y="457200"/>
                  </a:cubicBezTo>
                  <a:cubicBezTo>
                    <a:pt x="368992" y="457200"/>
                    <a:pt x="357844" y="449394"/>
                    <a:pt x="354500" y="438243"/>
                  </a:cubicBezTo>
                  <a:lnTo>
                    <a:pt x="325352" y="354821"/>
                  </a:lnTo>
                  <a:lnTo>
                    <a:pt x="321092" y="354821"/>
                  </a:lnTo>
                  <a:cubicBezTo>
                    <a:pt x="305481" y="354821"/>
                    <a:pt x="292100" y="342564"/>
                    <a:pt x="292100" y="325849"/>
                  </a:cubicBezTo>
                  <a:lnTo>
                    <a:pt x="298952" y="310168"/>
                  </a:lnTo>
                  <a:lnTo>
                    <a:pt x="228529" y="249787"/>
                  </a:lnTo>
                  <a:lnTo>
                    <a:pt x="198430" y="330076"/>
                  </a:lnTo>
                  <a:cubicBezTo>
                    <a:pt x="193971" y="340112"/>
                    <a:pt x="183938" y="347918"/>
                    <a:pt x="171676" y="347918"/>
                  </a:cubicBezTo>
                  <a:lnTo>
                    <a:pt x="27869" y="347918"/>
                  </a:lnTo>
                  <a:cubicBezTo>
                    <a:pt x="12262" y="347918"/>
                    <a:pt x="0" y="335652"/>
                    <a:pt x="0" y="320040"/>
                  </a:cubicBezTo>
                  <a:cubicBezTo>
                    <a:pt x="0" y="304428"/>
                    <a:pt x="12262" y="292162"/>
                    <a:pt x="27869" y="292162"/>
                  </a:cubicBezTo>
                  <a:lnTo>
                    <a:pt x="141577" y="292162"/>
                  </a:lnTo>
                  <a:lnTo>
                    <a:pt x="230759" y="55756"/>
                  </a:lnTo>
                  <a:lnTo>
                    <a:pt x="173905" y="55756"/>
                  </a:lnTo>
                  <a:lnTo>
                    <a:pt x="134888" y="141621"/>
                  </a:lnTo>
                  <a:cubicBezTo>
                    <a:pt x="130429" y="151657"/>
                    <a:pt x="120396" y="156117"/>
                    <a:pt x="110363" y="156117"/>
                  </a:cubicBezTo>
                  <a:cubicBezTo>
                    <a:pt x="105904" y="156117"/>
                    <a:pt x="101445" y="155002"/>
                    <a:pt x="96985" y="152772"/>
                  </a:cubicBezTo>
                  <a:cubicBezTo>
                    <a:pt x="83608" y="144966"/>
                    <a:pt x="78034" y="128239"/>
                    <a:pt x="85838" y="114858"/>
                  </a:cubicBezTo>
                  <a:lnTo>
                    <a:pt x="132658" y="14497"/>
                  </a:lnTo>
                  <a:cubicBezTo>
                    <a:pt x="138232" y="5576"/>
                    <a:pt x="147150" y="0"/>
                    <a:pt x="157183" y="0"/>
                  </a:cubicBez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Oval 2297">
              <a:extLst>
                <a:ext uri="{FF2B5EF4-FFF2-40B4-BE49-F238E27FC236}">
                  <a16:creationId xmlns:a16="http://schemas.microsoft.com/office/drawing/2014/main" id="{4229104F-1BB2-5DC5-8F94-905BDBEC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98">
              <a:extLst>
                <a:ext uri="{FF2B5EF4-FFF2-40B4-BE49-F238E27FC236}">
                  <a16:creationId xmlns:a16="http://schemas.microsoft.com/office/drawing/2014/main" id="{AEE5556B-57C0-AB0F-33C2-0AA705B69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26" y="1733550"/>
              <a:ext cx="152400" cy="127000"/>
            </a:xfrm>
            <a:custGeom>
              <a:avLst/>
              <a:gdLst>
                <a:gd name="T0" fmla="*/ 138 w 138"/>
                <a:gd name="T1" fmla="*/ 87 h 113"/>
                <a:gd name="T2" fmla="*/ 19 w 138"/>
                <a:gd name="T3" fmla="*/ 113 h 113"/>
                <a:gd name="T4" fmla="*/ 0 w 138"/>
                <a:gd name="T5" fmla="*/ 26 h 113"/>
                <a:gd name="T6" fmla="*/ 119 w 138"/>
                <a:gd name="T7" fmla="*/ 0 h 113"/>
                <a:gd name="T8" fmla="*/ 138 w 138"/>
                <a:gd name="T9" fmla="*/ 8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13">
                  <a:moveTo>
                    <a:pt x="138" y="87"/>
                  </a:moveTo>
                  <a:lnTo>
                    <a:pt x="19" y="113"/>
                  </a:lnTo>
                  <a:lnTo>
                    <a:pt x="0" y="26"/>
                  </a:lnTo>
                  <a:lnTo>
                    <a:pt x="119" y="0"/>
                  </a:lnTo>
                  <a:lnTo>
                    <a:pt x="138" y="87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nstruc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812795-0096-082D-1073-DC0A4281AE55}"/>
              </a:ext>
            </a:extLst>
          </p:cNvPr>
          <p:cNvGrpSpPr>
            <a:grpSpLocks noChangeAspect="1"/>
          </p:cNvGrpSpPr>
          <p:nvPr/>
        </p:nvGrpSpPr>
        <p:grpSpPr>
          <a:xfrm>
            <a:off x="4735424" y="2982043"/>
            <a:ext cx="359245" cy="429377"/>
            <a:chOff x="8158164" y="1847851"/>
            <a:chExt cx="398462" cy="476250"/>
          </a:xfrm>
          <a:solidFill>
            <a:schemeClr val="lt1"/>
          </a:solidFill>
        </p:grpSpPr>
        <p:sp>
          <p:nvSpPr>
            <p:cNvPr id="30" name="Freeform 527">
              <a:extLst>
                <a:ext uri="{FF2B5EF4-FFF2-40B4-BE49-F238E27FC236}">
                  <a16:creationId xmlns:a16="http://schemas.microsoft.com/office/drawing/2014/main" id="{C47C394B-9A7B-E1DE-0AE2-3FDAD6C33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01" y="2117726"/>
              <a:ext cx="161925" cy="204788"/>
            </a:xfrm>
            <a:custGeom>
              <a:avLst/>
              <a:gdLst>
                <a:gd name="T0" fmla="*/ 202 w 202"/>
                <a:gd name="T1" fmla="*/ 255 h 255"/>
                <a:gd name="T2" fmla="*/ 185 w 202"/>
                <a:gd name="T3" fmla="*/ 255 h 255"/>
                <a:gd name="T4" fmla="*/ 185 w 202"/>
                <a:gd name="T5" fmla="*/ 170 h 255"/>
                <a:gd name="T6" fmla="*/ 127 w 202"/>
                <a:gd name="T7" fmla="*/ 104 h 255"/>
                <a:gd name="T8" fmla="*/ 51 w 202"/>
                <a:gd name="T9" fmla="*/ 81 h 255"/>
                <a:gd name="T10" fmla="*/ 25 w 202"/>
                <a:gd name="T11" fmla="*/ 67 h 255"/>
                <a:gd name="T12" fmla="*/ 0 w 202"/>
                <a:gd name="T13" fmla="*/ 12 h 255"/>
                <a:gd name="T14" fmla="*/ 0 w 202"/>
                <a:gd name="T15" fmla="*/ 0 h 255"/>
                <a:gd name="T16" fmla="*/ 16 w 202"/>
                <a:gd name="T17" fmla="*/ 0 h 255"/>
                <a:gd name="T18" fmla="*/ 16 w 202"/>
                <a:gd name="T19" fmla="*/ 12 h 255"/>
                <a:gd name="T20" fmla="*/ 36 w 202"/>
                <a:gd name="T21" fmla="*/ 55 h 255"/>
                <a:gd name="T22" fmla="*/ 56 w 202"/>
                <a:gd name="T23" fmla="*/ 65 h 255"/>
                <a:gd name="T24" fmla="*/ 131 w 202"/>
                <a:gd name="T25" fmla="*/ 88 h 255"/>
                <a:gd name="T26" fmla="*/ 202 w 202"/>
                <a:gd name="T27" fmla="*/ 168 h 255"/>
                <a:gd name="T28" fmla="*/ 202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202" y="255"/>
                  </a:moveTo>
                  <a:lnTo>
                    <a:pt x="185" y="255"/>
                  </a:lnTo>
                  <a:lnTo>
                    <a:pt x="185" y="170"/>
                  </a:lnTo>
                  <a:cubicBezTo>
                    <a:pt x="180" y="140"/>
                    <a:pt x="157" y="113"/>
                    <a:pt x="127" y="104"/>
                  </a:cubicBezTo>
                  <a:lnTo>
                    <a:pt x="51" y="81"/>
                  </a:lnTo>
                  <a:cubicBezTo>
                    <a:pt x="42" y="78"/>
                    <a:pt x="33" y="74"/>
                    <a:pt x="25" y="67"/>
                  </a:cubicBezTo>
                  <a:cubicBezTo>
                    <a:pt x="9" y="53"/>
                    <a:pt x="0" y="33"/>
                    <a:pt x="0" y="1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"/>
                  </a:lnTo>
                  <a:cubicBezTo>
                    <a:pt x="16" y="28"/>
                    <a:pt x="24" y="44"/>
                    <a:pt x="36" y="55"/>
                  </a:cubicBezTo>
                  <a:cubicBezTo>
                    <a:pt x="42" y="59"/>
                    <a:pt x="49" y="63"/>
                    <a:pt x="56" y="65"/>
                  </a:cubicBezTo>
                  <a:lnTo>
                    <a:pt x="131" y="88"/>
                  </a:lnTo>
                  <a:cubicBezTo>
                    <a:pt x="168" y="99"/>
                    <a:pt x="196" y="131"/>
                    <a:pt x="202" y="168"/>
                  </a:cubicBezTo>
                  <a:lnTo>
                    <a:pt x="202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528">
              <a:extLst>
                <a:ext uri="{FF2B5EF4-FFF2-40B4-BE49-F238E27FC236}">
                  <a16:creationId xmlns:a16="http://schemas.microsoft.com/office/drawing/2014/main" id="{3C816EBB-32FD-B739-4B2F-3AA9D1F3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64" y="2117726"/>
              <a:ext cx="161925" cy="204788"/>
            </a:xfrm>
            <a:custGeom>
              <a:avLst/>
              <a:gdLst>
                <a:gd name="T0" fmla="*/ 16 w 202"/>
                <a:gd name="T1" fmla="*/ 255 h 255"/>
                <a:gd name="T2" fmla="*/ 0 w 202"/>
                <a:gd name="T3" fmla="*/ 255 h 255"/>
                <a:gd name="T4" fmla="*/ 0 w 202"/>
                <a:gd name="T5" fmla="*/ 171 h 255"/>
                <a:gd name="T6" fmla="*/ 70 w 202"/>
                <a:gd name="T7" fmla="*/ 88 h 255"/>
                <a:gd name="T8" fmla="*/ 145 w 202"/>
                <a:gd name="T9" fmla="*/ 65 h 255"/>
                <a:gd name="T10" fmla="*/ 166 w 202"/>
                <a:gd name="T11" fmla="*/ 54 h 255"/>
                <a:gd name="T12" fmla="*/ 185 w 202"/>
                <a:gd name="T13" fmla="*/ 11 h 255"/>
                <a:gd name="T14" fmla="*/ 185 w 202"/>
                <a:gd name="T15" fmla="*/ 0 h 255"/>
                <a:gd name="T16" fmla="*/ 202 w 202"/>
                <a:gd name="T17" fmla="*/ 0 h 255"/>
                <a:gd name="T18" fmla="*/ 202 w 202"/>
                <a:gd name="T19" fmla="*/ 11 h 255"/>
                <a:gd name="T20" fmla="*/ 177 w 202"/>
                <a:gd name="T21" fmla="*/ 66 h 255"/>
                <a:gd name="T22" fmla="*/ 150 w 202"/>
                <a:gd name="T23" fmla="*/ 81 h 255"/>
                <a:gd name="T24" fmla="*/ 75 w 202"/>
                <a:gd name="T25" fmla="*/ 104 h 255"/>
                <a:gd name="T26" fmla="*/ 16 w 202"/>
                <a:gd name="T27" fmla="*/ 173 h 255"/>
                <a:gd name="T28" fmla="*/ 16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16" y="255"/>
                  </a:moveTo>
                  <a:lnTo>
                    <a:pt x="0" y="255"/>
                  </a:lnTo>
                  <a:lnTo>
                    <a:pt x="0" y="171"/>
                  </a:lnTo>
                  <a:cubicBezTo>
                    <a:pt x="5" y="132"/>
                    <a:pt x="33" y="99"/>
                    <a:pt x="70" y="88"/>
                  </a:cubicBezTo>
                  <a:lnTo>
                    <a:pt x="145" y="65"/>
                  </a:lnTo>
                  <a:cubicBezTo>
                    <a:pt x="153" y="63"/>
                    <a:pt x="160" y="59"/>
                    <a:pt x="166" y="54"/>
                  </a:cubicBezTo>
                  <a:cubicBezTo>
                    <a:pt x="178" y="43"/>
                    <a:pt x="185" y="28"/>
                    <a:pt x="185" y="11"/>
                  </a:cubicBezTo>
                  <a:lnTo>
                    <a:pt x="185" y="0"/>
                  </a:lnTo>
                  <a:lnTo>
                    <a:pt x="202" y="0"/>
                  </a:lnTo>
                  <a:lnTo>
                    <a:pt x="202" y="11"/>
                  </a:lnTo>
                  <a:cubicBezTo>
                    <a:pt x="202" y="32"/>
                    <a:pt x="193" y="52"/>
                    <a:pt x="177" y="66"/>
                  </a:cubicBezTo>
                  <a:cubicBezTo>
                    <a:pt x="169" y="73"/>
                    <a:pt x="160" y="78"/>
                    <a:pt x="150" y="81"/>
                  </a:cubicBezTo>
                  <a:lnTo>
                    <a:pt x="75" y="104"/>
                  </a:lnTo>
                  <a:cubicBezTo>
                    <a:pt x="44" y="113"/>
                    <a:pt x="21" y="140"/>
                    <a:pt x="16" y="173"/>
                  </a:cubicBezTo>
                  <a:lnTo>
                    <a:pt x="16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8" name="Freeform 529">
              <a:extLst>
                <a:ext uri="{FF2B5EF4-FFF2-40B4-BE49-F238E27FC236}">
                  <a16:creationId xmlns:a16="http://schemas.microsoft.com/office/drawing/2014/main" id="{293476E4-40D8-9A98-B3B8-E25F837A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1985963"/>
              <a:ext cx="165100" cy="158750"/>
            </a:xfrm>
            <a:custGeom>
              <a:avLst/>
              <a:gdLst>
                <a:gd name="T0" fmla="*/ 102 w 204"/>
                <a:gd name="T1" fmla="*/ 198 h 198"/>
                <a:gd name="T2" fmla="*/ 66 w 204"/>
                <a:gd name="T3" fmla="*/ 188 h 198"/>
                <a:gd name="T4" fmla="*/ 0 w 204"/>
                <a:gd name="T5" fmla="*/ 105 h 198"/>
                <a:gd name="T6" fmla="*/ 0 w 204"/>
                <a:gd name="T7" fmla="*/ 0 h 198"/>
                <a:gd name="T8" fmla="*/ 17 w 204"/>
                <a:gd name="T9" fmla="*/ 0 h 198"/>
                <a:gd name="T10" fmla="*/ 17 w 204"/>
                <a:gd name="T11" fmla="*/ 105 h 198"/>
                <a:gd name="T12" fmla="*/ 75 w 204"/>
                <a:gd name="T13" fmla="*/ 174 h 198"/>
                <a:gd name="T14" fmla="*/ 129 w 204"/>
                <a:gd name="T15" fmla="*/ 174 h 198"/>
                <a:gd name="T16" fmla="*/ 188 w 204"/>
                <a:gd name="T17" fmla="*/ 105 h 198"/>
                <a:gd name="T18" fmla="*/ 188 w 204"/>
                <a:gd name="T19" fmla="*/ 0 h 198"/>
                <a:gd name="T20" fmla="*/ 204 w 204"/>
                <a:gd name="T21" fmla="*/ 0 h 198"/>
                <a:gd name="T22" fmla="*/ 204 w 204"/>
                <a:gd name="T23" fmla="*/ 105 h 198"/>
                <a:gd name="T24" fmla="*/ 138 w 204"/>
                <a:gd name="T25" fmla="*/ 188 h 198"/>
                <a:gd name="T26" fmla="*/ 102 w 204"/>
                <a:gd name="T2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8">
                  <a:moveTo>
                    <a:pt x="102" y="198"/>
                  </a:moveTo>
                  <a:cubicBezTo>
                    <a:pt x="90" y="198"/>
                    <a:pt x="77" y="195"/>
                    <a:pt x="66" y="188"/>
                  </a:cubicBezTo>
                  <a:cubicBezTo>
                    <a:pt x="36" y="169"/>
                    <a:pt x="0" y="140"/>
                    <a:pt x="0" y="105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05"/>
                  </a:lnTo>
                  <a:cubicBezTo>
                    <a:pt x="17" y="133"/>
                    <a:pt x="53" y="160"/>
                    <a:pt x="75" y="174"/>
                  </a:cubicBezTo>
                  <a:cubicBezTo>
                    <a:pt x="92" y="184"/>
                    <a:pt x="113" y="184"/>
                    <a:pt x="129" y="174"/>
                  </a:cubicBezTo>
                  <a:cubicBezTo>
                    <a:pt x="151" y="160"/>
                    <a:pt x="188" y="133"/>
                    <a:pt x="188" y="105"/>
                  </a:cubicBezTo>
                  <a:lnTo>
                    <a:pt x="188" y="0"/>
                  </a:lnTo>
                  <a:lnTo>
                    <a:pt x="204" y="0"/>
                  </a:lnTo>
                  <a:lnTo>
                    <a:pt x="204" y="105"/>
                  </a:lnTo>
                  <a:cubicBezTo>
                    <a:pt x="204" y="140"/>
                    <a:pt x="168" y="169"/>
                    <a:pt x="138" y="188"/>
                  </a:cubicBezTo>
                  <a:cubicBezTo>
                    <a:pt x="127" y="195"/>
                    <a:pt x="115" y="198"/>
                    <a:pt x="10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9" name="Freeform 530">
              <a:extLst>
                <a:ext uri="{FF2B5EF4-FFF2-40B4-BE49-F238E27FC236}">
                  <a16:creationId xmlns:a16="http://schemas.microsoft.com/office/drawing/2014/main" id="{BB092DB8-B69B-9A25-9247-83DBCC31C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8651" y="1847851"/>
              <a:ext cx="217488" cy="144463"/>
            </a:xfrm>
            <a:custGeom>
              <a:avLst/>
              <a:gdLst>
                <a:gd name="T0" fmla="*/ 17 w 269"/>
                <a:gd name="T1" fmla="*/ 162 h 179"/>
                <a:gd name="T2" fmla="*/ 252 w 269"/>
                <a:gd name="T3" fmla="*/ 162 h 179"/>
                <a:gd name="T4" fmla="*/ 252 w 269"/>
                <a:gd name="T5" fmla="*/ 134 h 179"/>
                <a:gd name="T6" fmla="*/ 134 w 269"/>
                <a:gd name="T7" fmla="*/ 16 h 179"/>
                <a:gd name="T8" fmla="*/ 17 w 269"/>
                <a:gd name="T9" fmla="*/ 134 h 179"/>
                <a:gd name="T10" fmla="*/ 17 w 269"/>
                <a:gd name="T11" fmla="*/ 162 h 179"/>
                <a:gd name="T12" fmla="*/ 269 w 269"/>
                <a:gd name="T13" fmla="*/ 179 h 179"/>
                <a:gd name="T14" fmla="*/ 0 w 269"/>
                <a:gd name="T15" fmla="*/ 179 h 179"/>
                <a:gd name="T16" fmla="*/ 0 w 269"/>
                <a:gd name="T17" fmla="*/ 134 h 179"/>
                <a:gd name="T18" fmla="*/ 134 w 269"/>
                <a:gd name="T19" fmla="*/ 0 h 179"/>
                <a:gd name="T20" fmla="*/ 269 w 269"/>
                <a:gd name="T21" fmla="*/ 134 h 179"/>
                <a:gd name="T22" fmla="*/ 269 w 269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179">
                  <a:moveTo>
                    <a:pt x="17" y="162"/>
                  </a:moveTo>
                  <a:lnTo>
                    <a:pt x="252" y="162"/>
                  </a:lnTo>
                  <a:lnTo>
                    <a:pt x="252" y="134"/>
                  </a:lnTo>
                  <a:cubicBezTo>
                    <a:pt x="252" y="69"/>
                    <a:pt x="199" y="16"/>
                    <a:pt x="134" y="16"/>
                  </a:cubicBezTo>
                  <a:cubicBezTo>
                    <a:pt x="69" y="16"/>
                    <a:pt x="17" y="69"/>
                    <a:pt x="17" y="134"/>
                  </a:cubicBezTo>
                  <a:lnTo>
                    <a:pt x="17" y="162"/>
                  </a:lnTo>
                  <a:close/>
                  <a:moveTo>
                    <a:pt x="269" y="179"/>
                  </a:moveTo>
                  <a:lnTo>
                    <a:pt x="0" y="179"/>
                  </a:lnTo>
                  <a:lnTo>
                    <a:pt x="0" y="134"/>
                  </a:lnTo>
                  <a:cubicBezTo>
                    <a:pt x="0" y="60"/>
                    <a:pt x="60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lnTo>
                    <a:pt x="269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0" name="Rectangle 531">
              <a:extLst>
                <a:ext uri="{FF2B5EF4-FFF2-40B4-BE49-F238E27FC236}">
                  <a16:creationId xmlns:a16="http://schemas.microsoft.com/office/drawing/2014/main" id="{FCD74E17-807F-9E13-F7D6-4F8D12DA7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7539" y="1978026"/>
              <a:ext cx="236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2" name="Freeform 532">
              <a:extLst>
                <a:ext uri="{FF2B5EF4-FFF2-40B4-BE49-F238E27FC236}">
                  <a16:creationId xmlns:a16="http://schemas.microsoft.com/office/drawing/2014/main" id="{9F1B0D63-FCFD-9820-AC31-357FE740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4" y="1854201"/>
              <a:ext cx="42863" cy="71438"/>
            </a:xfrm>
            <a:custGeom>
              <a:avLst/>
              <a:gdLst>
                <a:gd name="T0" fmla="*/ 27 w 27"/>
                <a:gd name="T1" fmla="*/ 45 h 45"/>
                <a:gd name="T2" fmla="*/ 0 w 27"/>
                <a:gd name="T3" fmla="*/ 45 h 45"/>
                <a:gd name="T4" fmla="*/ 0 w 27"/>
                <a:gd name="T5" fmla="*/ 0 h 45"/>
                <a:gd name="T6" fmla="*/ 8 w 27"/>
                <a:gd name="T7" fmla="*/ 0 h 45"/>
                <a:gd name="T8" fmla="*/ 8 w 27"/>
                <a:gd name="T9" fmla="*/ 37 h 45"/>
                <a:gd name="T10" fmla="*/ 18 w 27"/>
                <a:gd name="T11" fmla="*/ 37 h 45"/>
                <a:gd name="T12" fmla="*/ 18 w 27"/>
                <a:gd name="T13" fmla="*/ 0 h 45"/>
                <a:gd name="T14" fmla="*/ 27 w 27"/>
                <a:gd name="T15" fmla="*/ 0 h 45"/>
                <a:gd name="T16" fmla="*/ 27 w 2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5">
                  <a:moveTo>
                    <a:pt x="27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7"/>
                  </a:lnTo>
                  <a:lnTo>
                    <a:pt x="18" y="37"/>
                  </a:lnTo>
                  <a:lnTo>
                    <a:pt x="18" y="0"/>
                  </a:lnTo>
                  <a:lnTo>
                    <a:pt x="27" y="0"/>
                  </a:lnTo>
                  <a:lnTo>
                    <a:pt x="2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3" name="Rectangle 533">
              <a:extLst>
                <a:ext uri="{FF2B5EF4-FFF2-40B4-BE49-F238E27FC236}">
                  <a16:creationId xmlns:a16="http://schemas.microsoft.com/office/drawing/2014/main" id="{C938245E-EC7F-BCEE-F4EB-C1EBA08B4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6901" y="2192338"/>
              <a:ext cx="14288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4" name="Freeform 534">
              <a:extLst>
                <a:ext uri="{FF2B5EF4-FFF2-40B4-BE49-F238E27FC236}">
                  <a16:creationId xmlns:a16="http://schemas.microsoft.com/office/drawing/2014/main" id="{51097A89-A32D-8E0A-BC52-293FFD3F2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6" y="2179638"/>
              <a:ext cx="211138" cy="93663"/>
            </a:xfrm>
            <a:custGeom>
              <a:avLst/>
              <a:gdLst>
                <a:gd name="T0" fmla="*/ 115 w 133"/>
                <a:gd name="T1" fmla="*/ 59 h 59"/>
                <a:gd name="T2" fmla="*/ 18 w 133"/>
                <a:gd name="T3" fmla="*/ 59 h 59"/>
                <a:gd name="T4" fmla="*/ 0 w 133"/>
                <a:gd name="T5" fmla="*/ 3 h 59"/>
                <a:gd name="T6" fmla="*/ 7 w 133"/>
                <a:gd name="T7" fmla="*/ 0 h 59"/>
                <a:gd name="T8" fmla="*/ 24 w 133"/>
                <a:gd name="T9" fmla="*/ 50 h 59"/>
                <a:gd name="T10" fmla="*/ 109 w 133"/>
                <a:gd name="T11" fmla="*/ 50 h 59"/>
                <a:gd name="T12" fmla="*/ 125 w 133"/>
                <a:gd name="T13" fmla="*/ 0 h 59"/>
                <a:gd name="T14" fmla="*/ 133 w 133"/>
                <a:gd name="T15" fmla="*/ 3 h 59"/>
                <a:gd name="T16" fmla="*/ 115 w 133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59">
                  <a:moveTo>
                    <a:pt x="115" y="59"/>
                  </a:moveTo>
                  <a:lnTo>
                    <a:pt x="18" y="5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50"/>
                  </a:lnTo>
                  <a:lnTo>
                    <a:pt x="109" y="50"/>
                  </a:lnTo>
                  <a:lnTo>
                    <a:pt x="125" y="0"/>
                  </a:lnTo>
                  <a:lnTo>
                    <a:pt x="133" y="3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5" name="Rectangle 535">
              <a:extLst>
                <a:ext uri="{FF2B5EF4-FFF2-40B4-BE49-F238E27FC236}">
                  <a16:creationId xmlns:a16="http://schemas.microsoft.com/office/drawing/2014/main" id="{BE37B4B4-9834-0694-B549-E1FB5E7B5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1" y="2192338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6" name="Freeform 536">
              <a:extLst>
                <a:ext uri="{FF2B5EF4-FFF2-40B4-BE49-F238E27FC236}">
                  <a16:creationId xmlns:a16="http://schemas.microsoft.com/office/drawing/2014/main" id="{C9A295F6-FADD-508F-20DC-BD727991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9" y="2159001"/>
              <a:ext cx="125413" cy="57150"/>
            </a:xfrm>
            <a:custGeom>
              <a:avLst/>
              <a:gdLst>
                <a:gd name="T0" fmla="*/ 78 w 156"/>
                <a:gd name="T1" fmla="*/ 70 h 70"/>
                <a:gd name="T2" fmla="*/ 0 w 156"/>
                <a:gd name="T3" fmla="*/ 0 h 70"/>
                <a:gd name="T4" fmla="*/ 17 w 156"/>
                <a:gd name="T5" fmla="*/ 0 h 70"/>
                <a:gd name="T6" fmla="*/ 78 w 156"/>
                <a:gd name="T7" fmla="*/ 54 h 70"/>
                <a:gd name="T8" fmla="*/ 140 w 156"/>
                <a:gd name="T9" fmla="*/ 0 h 70"/>
                <a:gd name="T10" fmla="*/ 156 w 156"/>
                <a:gd name="T11" fmla="*/ 0 h 70"/>
                <a:gd name="T12" fmla="*/ 78 w 156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0">
                  <a:moveTo>
                    <a:pt x="78" y="70"/>
                  </a:moveTo>
                  <a:cubicBezTo>
                    <a:pt x="35" y="70"/>
                    <a:pt x="0" y="39"/>
                    <a:pt x="0" y="0"/>
                  </a:cubicBezTo>
                  <a:lnTo>
                    <a:pt x="17" y="0"/>
                  </a:lnTo>
                  <a:cubicBezTo>
                    <a:pt x="17" y="30"/>
                    <a:pt x="45" y="54"/>
                    <a:pt x="78" y="54"/>
                  </a:cubicBezTo>
                  <a:cubicBezTo>
                    <a:pt x="112" y="54"/>
                    <a:pt x="140" y="30"/>
                    <a:pt x="140" y="0"/>
                  </a:cubicBezTo>
                  <a:lnTo>
                    <a:pt x="156" y="0"/>
                  </a:lnTo>
                  <a:cubicBezTo>
                    <a:pt x="156" y="39"/>
                    <a:pt x="121" y="70"/>
                    <a:pt x="7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7" name="Freeform 537">
              <a:extLst>
                <a:ext uri="{FF2B5EF4-FFF2-40B4-BE49-F238E27FC236}">
                  <a16:creationId xmlns:a16="http://schemas.microsoft.com/office/drawing/2014/main" id="{D2C23759-2BA8-B1D4-5EC3-2EA32A33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9" y="1892301"/>
              <a:ext cx="33338" cy="73025"/>
            </a:xfrm>
            <a:custGeom>
              <a:avLst/>
              <a:gdLst>
                <a:gd name="T0" fmla="*/ 40 w 41"/>
                <a:gd name="T1" fmla="*/ 89 h 89"/>
                <a:gd name="T2" fmla="*/ 24 w 41"/>
                <a:gd name="T3" fmla="*/ 88 h 89"/>
                <a:gd name="T4" fmla="*/ 0 w 41"/>
                <a:gd name="T5" fmla="*/ 11 h 89"/>
                <a:gd name="T6" fmla="*/ 12 w 41"/>
                <a:gd name="T7" fmla="*/ 0 h 89"/>
                <a:gd name="T8" fmla="*/ 40 w 41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9">
                  <a:moveTo>
                    <a:pt x="40" y="89"/>
                  </a:moveTo>
                  <a:lnTo>
                    <a:pt x="24" y="88"/>
                  </a:lnTo>
                  <a:cubicBezTo>
                    <a:pt x="24" y="63"/>
                    <a:pt x="16" y="27"/>
                    <a:pt x="0" y="11"/>
                  </a:cubicBezTo>
                  <a:lnTo>
                    <a:pt x="12" y="0"/>
                  </a:lnTo>
                  <a:cubicBezTo>
                    <a:pt x="33" y="20"/>
                    <a:pt x="41" y="64"/>
                    <a:pt x="4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8" name="Freeform 538">
              <a:extLst>
                <a:ext uri="{FF2B5EF4-FFF2-40B4-BE49-F238E27FC236}">
                  <a16:creationId xmlns:a16="http://schemas.microsoft.com/office/drawing/2014/main" id="{57192022-26F4-B19C-71D4-C0559CD0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3751" y="1892301"/>
              <a:ext cx="31750" cy="73025"/>
            </a:xfrm>
            <a:custGeom>
              <a:avLst/>
              <a:gdLst>
                <a:gd name="T0" fmla="*/ 0 w 40"/>
                <a:gd name="T1" fmla="*/ 89 h 89"/>
                <a:gd name="T2" fmla="*/ 29 w 40"/>
                <a:gd name="T3" fmla="*/ 0 h 89"/>
                <a:gd name="T4" fmla="*/ 40 w 40"/>
                <a:gd name="T5" fmla="*/ 11 h 89"/>
                <a:gd name="T6" fmla="*/ 17 w 40"/>
                <a:gd name="T7" fmla="*/ 88 h 89"/>
                <a:gd name="T8" fmla="*/ 0 w 40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9">
                  <a:moveTo>
                    <a:pt x="0" y="89"/>
                  </a:moveTo>
                  <a:cubicBezTo>
                    <a:pt x="0" y="64"/>
                    <a:pt x="8" y="20"/>
                    <a:pt x="29" y="0"/>
                  </a:cubicBezTo>
                  <a:lnTo>
                    <a:pt x="40" y="11"/>
                  </a:lnTo>
                  <a:cubicBezTo>
                    <a:pt x="25" y="26"/>
                    <a:pt x="16" y="63"/>
                    <a:pt x="17" y="88"/>
                  </a:cubicBezTo>
                  <a:lnTo>
                    <a:pt x="0" y="8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9" name="Freeform 539">
              <a:extLst>
                <a:ext uri="{FF2B5EF4-FFF2-40B4-BE49-F238E27FC236}">
                  <a16:creationId xmlns:a16="http://schemas.microsoft.com/office/drawing/2014/main" id="{FADBF14F-16E8-E580-AA34-8C72B53CF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4" y="2259013"/>
              <a:ext cx="204788" cy="65088"/>
            </a:xfrm>
            <a:custGeom>
              <a:avLst/>
              <a:gdLst>
                <a:gd name="T0" fmla="*/ 129 w 129"/>
                <a:gd name="T1" fmla="*/ 41 h 41"/>
                <a:gd name="T2" fmla="*/ 121 w 129"/>
                <a:gd name="T3" fmla="*/ 41 h 41"/>
                <a:gd name="T4" fmla="*/ 121 w 129"/>
                <a:gd name="T5" fmla="*/ 9 h 41"/>
                <a:gd name="T6" fmla="*/ 8 w 129"/>
                <a:gd name="T7" fmla="*/ 9 h 41"/>
                <a:gd name="T8" fmla="*/ 8 w 129"/>
                <a:gd name="T9" fmla="*/ 41 h 41"/>
                <a:gd name="T10" fmla="*/ 0 w 129"/>
                <a:gd name="T11" fmla="*/ 41 h 41"/>
                <a:gd name="T12" fmla="*/ 0 w 129"/>
                <a:gd name="T13" fmla="*/ 0 h 41"/>
                <a:gd name="T14" fmla="*/ 129 w 129"/>
                <a:gd name="T15" fmla="*/ 0 h 41"/>
                <a:gd name="T16" fmla="*/ 129 w 129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41">
                  <a:moveTo>
                    <a:pt x="129" y="41"/>
                  </a:moveTo>
                  <a:lnTo>
                    <a:pt x="121" y="41"/>
                  </a:lnTo>
                  <a:lnTo>
                    <a:pt x="121" y="9"/>
                  </a:lnTo>
                  <a:lnTo>
                    <a:pt x="8" y="9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12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40" name="Contamin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AA2A1F-A1BA-1488-412E-1D83EEB6D7DE}"/>
              </a:ext>
            </a:extLst>
          </p:cNvPr>
          <p:cNvGrpSpPr>
            <a:grpSpLocks noChangeAspect="1"/>
          </p:cNvGrpSpPr>
          <p:nvPr/>
        </p:nvGrpSpPr>
        <p:grpSpPr>
          <a:xfrm>
            <a:off x="6538271" y="4899409"/>
            <a:ext cx="433182" cy="429377"/>
            <a:chOff x="4278313" y="254000"/>
            <a:chExt cx="903288" cy="895351"/>
          </a:xfrm>
        </p:grpSpPr>
        <p:sp>
          <p:nvSpPr>
            <p:cNvPr id="22541" name="Freeform 88">
              <a:extLst>
                <a:ext uri="{FF2B5EF4-FFF2-40B4-BE49-F238E27FC236}">
                  <a16:creationId xmlns:a16="http://schemas.microsoft.com/office/drawing/2014/main" id="{917A7606-D422-A629-1335-C3688068C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665163"/>
              <a:ext cx="477838" cy="484188"/>
            </a:xfrm>
            <a:custGeom>
              <a:avLst/>
              <a:gdLst>
                <a:gd name="T0" fmla="*/ 149 w 636"/>
                <a:gd name="T1" fmla="*/ 604 h 643"/>
                <a:gd name="T2" fmla="*/ 268 w 636"/>
                <a:gd name="T3" fmla="*/ 464 h 643"/>
                <a:gd name="T4" fmla="*/ 389 w 636"/>
                <a:gd name="T5" fmla="*/ 496 h 643"/>
                <a:gd name="T6" fmla="*/ 636 w 636"/>
                <a:gd name="T7" fmla="*/ 247 h 643"/>
                <a:gd name="T8" fmla="*/ 622 w 636"/>
                <a:gd name="T9" fmla="*/ 167 h 643"/>
                <a:gd name="T10" fmla="*/ 387 w 636"/>
                <a:gd name="T11" fmla="*/ 0 h 643"/>
                <a:gd name="T12" fmla="*/ 140 w 636"/>
                <a:gd name="T13" fmla="*/ 249 h 643"/>
                <a:gd name="T14" fmla="*/ 154 w 636"/>
                <a:gd name="T15" fmla="*/ 329 h 643"/>
                <a:gd name="T16" fmla="*/ 173 w 636"/>
                <a:gd name="T17" fmla="*/ 370 h 643"/>
                <a:gd name="T18" fmla="*/ 34 w 636"/>
                <a:gd name="T19" fmla="*/ 491 h 643"/>
                <a:gd name="T20" fmla="*/ 10 w 636"/>
                <a:gd name="T21" fmla="*/ 577 h 643"/>
                <a:gd name="T22" fmla="*/ 31 w 636"/>
                <a:gd name="T23" fmla="*/ 609 h 643"/>
                <a:gd name="T24" fmla="*/ 149 w 636"/>
                <a:gd name="T25" fmla="*/ 604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643">
                  <a:moveTo>
                    <a:pt x="149" y="604"/>
                  </a:moveTo>
                  <a:lnTo>
                    <a:pt x="268" y="464"/>
                  </a:lnTo>
                  <a:cubicBezTo>
                    <a:pt x="304" y="484"/>
                    <a:pt x="345" y="496"/>
                    <a:pt x="389" y="496"/>
                  </a:cubicBezTo>
                  <a:cubicBezTo>
                    <a:pt x="526" y="495"/>
                    <a:pt x="636" y="384"/>
                    <a:pt x="636" y="247"/>
                  </a:cubicBezTo>
                  <a:cubicBezTo>
                    <a:pt x="636" y="219"/>
                    <a:pt x="631" y="192"/>
                    <a:pt x="622" y="167"/>
                  </a:cubicBezTo>
                  <a:cubicBezTo>
                    <a:pt x="588" y="70"/>
                    <a:pt x="496" y="0"/>
                    <a:pt x="387" y="0"/>
                  </a:cubicBezTo>
                  <a:cubicBezTo>
                    <a:pt x="251" y="1"/>
                    <a:pt x="140" y="112"/>
                    <a:pt x="140" y="249"/>
                  </a:cubicBezTo>
                  <a:cubicBezTo>
                    <a:pt x="141" y="277"/>
                    <a:pt x="145" y="304"/>
                    <a:pt x="154" y="329"/>
                  </a:cubicBezTo>
                  <a:cubicBezTo>
                    <a:pt x="159" y="343"/>
                    <a:pt x="165" y="357"/>
                    <a:pt x="173" y="370"/>
                  </a:cubicBezTo>
                  <a:lnTo>
                    <a:pt x="34" y="491"/>
                  </a:lnTo>
                  <a:cubicBezTo>
                    <a:pt x="8" y="514"/>
                    <a:pt x="0" y="547"/>
                    <a:pt x="10" y="577"/>
                  </a:cubicBezTo>
                  <a:cubicBezTo>
                    <a:pt x="14" y="588"/>
                    <a:pt x="21" y="599"/>
                    <a:pt x="31" y="609"/>
                  </a:cubicBezTo>
                  <a:cubicBezTo>
                    <a:pt x="63" y="641"/>
                    <a:pt x="116" y="643"/>
                    <a:pt x="149" y="604"/>
                  </a:cubicBezTo>
                  <a:close/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2" name="Oval 89">
              <a:extLst>
                <a:ext uri="{FF2B5EF4-FFF2-40B4-BE49-F238E27FC236}">
                  <a16:creationId xmlns:a16="http://schemas.microsoft.com/office/drawing/2014/main" id="{3290D548-5D24-FE83-F7C9-5B003450B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13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3" name="Freeform 90">
              <a:extLst>
                <a:ext uri="{FF2B5EF4-FFF2-40B4-BE49-F238E27FC236}">
                  <a16:creationId xmlns:a16="http://schemas.microsoft.com/office/drawing/2014/main" id="{F1A8FC83-A2D5-8ED6-E94E-A4602EEE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050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4" name="Oval 91">
              <a:extLst>
                <a:ext uri="{FF2B5EF4-FFF2-40B4-BE49-F238E27FC236}">
                  <a16:creationId xmlns:a16="http://schemas.microsoft.com/office/drawing/2014/main" id="{3A3461D9-2CA8-36AE-91E6-5CFC6DF85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9675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5" name="Freeform 92">
              <a:extLst>
                <a:ext uri="{FF2B5EF4-FFF2-40B4-BE49-F238E27FC236}">
                  <a16:creationId xmlns:a16="http://schemas.microsoft.com/office/drawing/2014/main" id="{1080861E-5843-B873-9459-6713B7223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6" name="Oval 93">
              <a:extLst>
                <a:ext uri="{FF2B5EF4-FFF2-40B4-BE49-F238E27FC236}">
                  <a16:creationId xmlns:a16="http://schemas.microsoft.com/office/drawing/2014/main" id="{42C31F1A-94D6-088F-DDF9-299CE60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088" y="719138"/>
              <a:ext cx="117475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7" name="Freeform 94">
              <a:extLst>
                <a:ext uri="{FF2B5EF4-FFF2-40B4-BE49-F238E27FC236}">
                  <a16:creationId xmlns:a16="http://schemas.microsoft.com/office/drawing/2014/main" id="{C374B31A-6A89-0E8B-5596-9AC9C407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582613"/>
              <a:ext cx="71438" cy="93663"/>
            </a:xfrm>
            <a:custGeom>
              <a:avLst/>
              <a:gdLst>
                <a:gd name="T0" fmla="*/ 95 w 95"/>
                <a:gd name="T1" fmla="*/ 0 h 125"/>
                <a:gd name="T2" fmla="*/ 0 w 95"/>
                <a:gd name="T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125">
                  <a:moveTo>
                    <a:pt x="95" y="0"/>
                  </a:moveTo>
                  <a:cubicBezTo>
                    <a:pt x="95" y="60"/>
                    <a:pt x="55" y="110"/>
                    <a:pt x="0" y="125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8" name="Freeform 95">
              <a:extLst>
                <a:ext uri="{FF2B5EF4-FFF2-40B4-BE49-F238E27FC236}">
                  <a16:creationId xmlns:a16="http://schemas.microsoft.com/office/drawing/2014/main" id="{D76BBCB8-3217-08A8-7384-68B436022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88" y="582613"/>
              <a:ext cx="98425" cy="96838"/>
            </a:xfrm>
            <a:custGeom>
              <a:avLst/>
              <a:gdLst>
                <a:gd name="T0" fmla="*/ 0 w 130"/>
                <a:gd name="T1" fmla="*/ 0 h 130"/>
                <a:gd name="T2" fmla="*/ 130 w 130"/>
                <a:gd name="T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0" h="130">
                  <a:moveTo>
                    <a:pt x="0" y="0"/>
                  </a:moveTo>
                  <a:cubicBezTo>
                    <a:pt x="0" y="72"/>
                    <a:pt x="58" y="130"/>
                    <a:pt x="130" y="130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9" name="Line 96">
              <a:extLst>
                <a:ext uri="{FF2B5EF4-FFF2-40B4-BE49-F238E27FC236}">
                  <a16:creationId xmlns:a16="http://schemas.microsoft.com/office/drawing/2014/main" id="{1E0EAE6E-AF13-D57B-A41F-BCB592AB2E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25" y="582613"/>
              <a:ext cx="0" cy="82550"/>
            </a:xfrm>
            <a:prstGeom prst="lin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0" name="Oval 97">
              <a:extLst>
                <a:ext uri="{FF2B5EF4-FFF2-40B4-BE49-F238E27FC236}">
                  <a16:creationId xmlns:a16="http://schemas.microsoft.com/office/drawing/2014/main" id="{D94EA36B-20E0-28B5-8BDE-D3601CECA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54000"/>
              <a:ext cx="130175" cy="130175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1" name="Freeform 98">
              <a:extLst>
                <a:ext uri="{FF2B5EF4-FFF2-40B4-BE49-F238E27FC236}">
                  <a16:creationId xmlns:a16="http://schemas.microsoft.com/office/drawing/2014/main" id="{48DAC6DE-A298-0D45-7E7D-ACCC81C5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423863"/>
              <a:ext cx="225425" cy="109538"/>
            </a:xfrm>
            <a:custGeom>
              <a:avLst/>
              <a:gdLst>
                <a:gd name="T0" fmla="*/ 300 w 300"/>
                <a:gd name="T1" fmla="*/ 146 h 146"/>
                <a:gd name="T2" fmla="*/ 300 w 300"/>
                <a:gd name="T3" fmla="*/ 110 h 146"/>
                <a:gd name="T4" fmla="*/ 150 w 300"/>
                <a:gd name="T5" fmla="*/ 0 h 146"/>
                <a:gd name="T6" fmla="*/ 0 w 300"/>
                <a:gd name="T7" fmla="*/ 110 h 146"/>
                <a:gd name="T8" fmla="*/ 0 w 300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46">
                  <a:moveTo>
                    <a:pt x="300" y="146"/>
                  </a:moveTo>
                  <a:lnTo>
                    <a:pt x="300" y="110"/>
                  </a:lnTo>
                  <a:cubicBezTo>
                    <a:pt x="300" y="40"/>
                    <a:pt x="233" y="0"/>
                    <a:pt x="150" y="0"/>
                  </a:cubicBezTo>
                  <a:cubicBezTo>
                    <a:pt x="67" y="0"/>
                    <a:pt x="0" y="40"/>
                    <a:pt x="0" y="110"/>
                  </a:cubicBezTo>
                  <a:lnTo>
                    <a:pt x="0" y="146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2" name="Freeform 99">
              <a:extLst>
                <a:ext uri="{FF2B5EF4-FFF2-40B4-BE49-F238E27FC236}">
                  <a16:creationId xmlns:a16="http://schemas.microsoft.com/office/drawing/2014/main" id="{3E54C03A-5CEE-7CE1-535E-3DF6701D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874713"/>
              <a:ext cx="173038" cy="96838"/>
            </a:xfrm>
            <a:custGeom>
              <a:avLst/>
              <a:gdLst>
                <a:gd name="T0" fmla="*/ 231 w 231"/>
                <a:gd name="T1" fmla="*/ 129 h 129"/>
                <a:gd name="T2" fmla="*/ 231 w 231"/>
                <a:gd name="T3" fmla="*/ 100 h 129"/>
                <a:gd name="T4" fmla="*/ 95 w 231"/>
                <a:gd name="T5" fmla="*/ 0 h 129"/>
                <a:gd name="T6" fmla="*/ 0 w 231"/>
                <a:gd name="T7" fmla="*/ 2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9">
                  <a:moveTo>
                    <a:pt x="231" y="129"/>
                  </a:moveTo>
                  <a:lnTo>
                    <a:pt x="231" y="100"/>
                  </a:lnTo>
                  <a:cubicBezTo>
                    <a:pt x="231" y="36"/>
                    <a:pt x="170" y="0"/>
                    <a:pt x="95" y="0"/>
                  </a:cubicBezTo>
                  <a:cubicBezTo>
                    <a:pt x="58" y="0"/>
                    <a:pt x="24" y="9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2553" name="Rectangle 90">
            <a:extLst>
              <a:ext uri="{FF2B5EF4-FFF2-40B4-BE49-F238E27FC236}">
                <a16:creationId xmlns:a16="http://schemas.microsoft.com/office/drawing/2014/main" id="{2A93375F-6DE9-B284-142C-FED393BFEA9A}"/>
              </a:ext>
            </a:extLst>
          </p:cNvPr>
          <p:cNvSpPr>
            <a:spLocks noChangeAspect="1"/>
          </p:cNvSpPr>
          <p:nvPr/>
        </p:nvSpPr>
        <p:spPr>
          <a:xfrm>
            <a:off x="5810776" y="201174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4" name="Rectangle 91">
            <a:extLst>
              <a:ext uri="{FF2B5EF4-FFF2-40B4-BE49-F238E27FC236}">
                <a16:creationId xmlns:a16="http://schemas.microsoft.com/office/drawing/2014/main" id="{7240F90D-B087-761D-522D-5EB171A23897}"/>
              </a:ext>
            </a:extLst>
          </p:cNvPr>
          <p:cNvSpPr>
            <a:spLocks noChangeAspect="1"/>
          </p:cNvSpPr>
          <p:nvPr/>
        </p:nvSpPr>
        <p:spPr>
          <a:xfrm>
            <a:off x="7229104" y="240996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5" name="Rectangle 92">
            <a:extLst>
              <a:ext uri="{FF2B5EF4-FFF2-40B4-BE49-F238E27FC236}">
                <a16:creationId xmlns:a16="http://schemas.microsoft.com/office/drawing/2014/main" id="{CAB08412-D5D9-3521-EA8D-C6B88A1D1DD6}"/>
              </a:ext>
            </a:extLst>
          </p:cNvPr>
          <p:cNvSpPr>
            <a:spLocks noChangeAspect="1"/>
          </p:cNvSpPr>
          <p:nvPr/>
        </p:nvSpPr>
        <p:spPr>
          <a:xfrm>
            <a:off x="7571536" y="3875684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1867676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48F4020-4A0D-ABF8-F89D-E3E0AE01974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1766B2F9-A9D8-0442-C205-AE51253F929A}"/>
              </a:ext>
            </a:extLst>
          </p:cNvPr>
          <p:cNvGrpSpPr/>
          <p:nvPr/>
        </p:nvGrpSpPr>
        <p:grpSpPr>
          <a:xfrm>
            <a:off x="4378717" y="1673805"/>
            <a:ext cx="3928157" cy="3928157"/>
            <a:chOff x="5838290" y="1088740"/>
            <a:chExt cx="5237542" cy="5237542"/>
          </a:xfrm>
        </p:grpSpPr>
        <p:sp>
          <p:nvSpPr>
            <p:cNvPr id="6" name="Freeform: Shape 31">
              <a:extLst>
                <a:ext uri="{FF2B5EF4-FFF2-40B4-BE49-F238E27FC236}">
                  <a16:creationId xmlns:a16="http://schemas.microsoft.com/office/drawing/2014/main" id="{817A611F-D24B-A9F2-A514-C48D41FC18E6}"/>
                </a:ext>
              </a:extLst>
            </p:cNvPr>
            <p:cNvSpPr>
              <a:spLocks noChangeAspect="1"/>
            </p:cNvSpPr>
            <p:nvPr/>
          </p:nvSpPr>
          <p:spPr>
            <a:xfrm rot="7860000">
              <a:off x="5838290" y="2381992"/>
              <a:ext cx="5237542" cy="2651038"/>
            </a:xfrm>
            <a:custGeom>
              <a:avLst/>
              <a:gdLst>
                <a:gd name="connsiteX0" fmla="*/ 4094712 w 6337426"/>
                <a:gd name="connsiteY0" fmla="*/ 3207756 h 3207756"/>
                <a:gd name="connsiteX1" fmla="*/ 4272279 w 6337426"/>
                <a:gd name="connsiteY1" fmla="*/ 2978421 h 3207756"/>
                <a:gd name="connsiteX2" fmla="*/ 4621089 w 6337426"/>
                <a:gd name="connsiteY2" fmla="*/ 2442407 h 3207756"/>
                <a:gd name="connsiteX3" fmla="*/ 5297235 w 6337426"/>
                <a:gd name="connsiteY3" fmla="*/ 505371 h 3207756"/>
                <a:gd name="connsiteX4" fmla="*/ 5307513 w 6337426"/>
                <a:gd name="connsiteY4" fmla="*/ 369041 h 3207756"/>
                <a:gd name="connsiteX5" fmla="*/ 5409331 w 6337426"/>
                <a:gd name="connsiteY5" fmla="*/ 418018 h 3207756"/>
                <a:gd name="connsiteX6" fmla="*/ 6337426 w 6337426"/>
                <a:gd name="connsiteY6" fmla="*/ 1603878 h 3207756"/>
                <a:gd name="connsiteX7" fmla="*/ 4110991 w 6337426"/>
                <a:gd name="connsiteY7" fmla="*/ 3205541 h 3207756"/>
                <a:gd name="connsiteX8" fmla="*/ 249013 w 6337426"/>
                <a:gd name="connsiteY8" fmla="*/ 2256666 h 3207756"/>
                <a:gd name="connsiteX9" fmla="*/ 0 w 6337426"/>
                <a:gd name="connsiteY9" fmla="*/ 1603878 h 3207756"/>
                <a:gd name="connsiteX10" fmla="*/ 2226435 w 6337426"/>
                <a:gd name="connsiteY10" fmla="*/ 2215 h 3207756"/>
                <a:gd name="connsiteX11" fmla="*/ 2242713 w 6337426"/>
                <a:gd name="connsiteY11" fmla="*/ 0 h 3207756"/>
                <a:gd name="connsiteX12" fmla="*/ 2065147 w 6337426"/>
                <a:gd name="connsiteY12" fmla="*/ 229334 h 3207756"/>
                <a:gd name="connsiteX13" fmla="*/ 1716336 w 6337426"/>
                <a:gd name="connsiteY13" fmla="*/ 765348 h 3207756"/>
                <a:gd name="connsiteX14" fmla="*/ 1040191 w 6337426"/>
                <a:gd name="connsiteY14" fmla="*/ 2702384 h 3207756"/>
                <a:gd name="connsiteX15" fmla="*/ 1029912 w 6337426"/>
                <a:gd name="connsiteY15" fmla="*/ 2838715 h 3207756"/>
                <a:gd name="connsiteX16" fmla="*/ 928095 w 6337426"/>
                <a:gd name="connsiteY16" fmla="*/ 2789739 h 3207756"/>
                <a:gd name="connsiteX17" fmla="*/ 249013 w 6337426"/>
                <a:gd name="connsiteY17" fmla="*/ 2256666 h 320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7756">
                  <a:moveTo>
                    <a:pt x="4094712" y="3207756"/>
                  </a:moveTo>
                  <a:lnTo>
                    <a:pt x="4272279" y="2978421"/>
                  </a:lnTo>
                  <a:cubicBezTo>
                    <a:pt x="4394764" y="2810951"/>
                    <a:pt x="4511712" y="2631854"/>
                    <a:pt x="4621089" y="2442407"/>
                  </a:cubicBezTo>
                  <a:cubicBezTo>
                    <a:pt x="5003909" y="1779345"/>
                    <a:pt x="5230555" y="1099349"/>
                    <a:pt x="5297235" y="505371"/>
                  </a:cubicBezTo>
                  <a:lnTo>
                    <a:pt x="5307513" y="369041"/>
                  </a:lnTo>
                  <a:lnTo>
                    <a:pt x="5409331" y="418018"/>
                  </a:lnTo>
                  <a:cubicBezTo>
                    <a:pt x="5982755" y="721506"/>
                    <a:pt x="6337426" y="1140771"/>
                    <a:pt x="6337426" y="1603878"/>
                  </a:cubicBezTo>
                  <a:cubicBezTo>
                    <a:pt x="6337426" y="2356428"/>
                    <a:pt x="5400875" y="2993206"/>
                    <a:pt x="4110991" y="3205541"/>
                  </a:cubicBezTo>
                  <a:close/>
                  <a:moveTo>
                    <a:pt x="249013" y="2256666"/>
                  </a:moveTo>
                  <a:cubicBezTo>
                    <a:pt x="88668" y="2056025"/>
                    <a:pt x="0" y="1835432"/>
                    <a:pt x="0" y="1603878"/>
                  </a:cubicBezTo>
                  <a:cubicBezTo>
                    <a:pt x="0" y="851329"/>
                    <a:pt x="936551" y="214550"/>
                    <a:pt x="2226435" y="2215"/>
                  </a:cubicBezTo>
                  <a:lnTo>
                    <a:pt x="2242713" y="0"/>
                  </a:lnTo>
                  <a:lnTo>
                    <a:pt x="2065147" y="229334"/>
                  </a:lnTo>
                  <a:cubicBezTo>
                    <a:pt x="1942662" y="396804"/>
                    <a:pt x="1825713" y="575901"/>
                    <a:pt x="1716336" y="765348"/>
                  </a:cubicBezTo>
                  <a:cubicBezTo>
                    <a:pt x="1333517" y="1428410"/>
                    <a:pt x="1106871" y="2108406"/>
                    <a:pt x="1040191" y="2702384"/>
                  </a:cubicBezTo>
                  <a:lnTo>
                    <a:pt x="1029912" y="2838715"/>
                  </a:lnTo>
                  <a:lnTo>
                    <a:pt x="928095" y="2789739"/>
                  </a:lnTo>
                  <a:cubicBezTo>
                    <a:pt x="641382" y="2637995"/>
                    <a:pt x="409359" y="2457306"/>
                    <a:pt x="249013" y="225666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E77117DE-A16A-FD44-52ED-EF36F001A6FF}"/>
                </a:ext>
              </a:extLst>
            </p:cNvPr>
            <p:cNvSpPr>
              <a:spLocks noChangeAspect="1"/>
            </p:cNvSpPr>
            <p:nvPr/>
          </p:nvSpPr>
          <p:spPr>
            <a:xfrm rot="684917">
              <a:off x="5838290" y="2382801"/>
              <a:ext cx="5237542" cy="2649420"/>
            </a:xfrm>
            <a:custGeom>
              <a:avLst/>
              <a:gdLst>
                <a:gd name="connsiteX0" fmla="*/ 5297772 w 6337426"/>
                <a:gd name="connsiteY0" fmla="*/ 363376 h 3205798"/>
                <a:gd name="connsiteX1" fmla="*/ 5409332 w 6337426"/>
                <a:gd name="connsiteY1" fmla="*/ 417038 h 3205798"/>
                <a:gd name="connsiteX2" fmla="*/ 6337426 w 6337426"/>
                <a:gd name="connsiteY2" fmla="*/ 1602899 h 3205798"/>
                <a:gd name="connsiteX3" fmla="*/ 4110991 w 6337426"/>
                <a:gd name="connsiteY3" fmla="*/ 3204562 h 3205798"/>
                <a:gd name="connsiteX4" fmla="*/ 4101908 w 6337426"/>
                <a:gd name="connsiteY4" fmla="*/ 3205798 h 3205798"/>
                <a:gd name="connsiteX5" fmla="*/ 4282212 w 6337426"/>
                <a:gd name="connsiteY5" fmla="*/ 2969408 h 3205798"/>
                <a:gd name="connsiteX6" fmla="*/ 4627128 w 6337426"/>
                <a:gd name="connsiteY6" fmla="*/ 2430880 h 3205798"/>
                <a:gd name="connsiteX7" fmla="*/ 5289217 w 6337426"/>
                <a:gd name="connsiteY7" fmla="*/ 488994 h 3205798"/>
                <a:gd name="connsiteX8" fmla="*/ 1935307 w 6337426"/>
                <a:gd name="connsiteY8" fmla="*/ 57631 h 3205798"/>
                <a:gd name="connsiteX9" fmla="*/ 2226435 w 6337426"/>
                <a:gd name="connsiteY9" fmla="*/ 1236 h 3205798"/>
                <a:gd name="connsiteX10" fmla="*/ 2235517 w 6337426"/>
                <a:gd name="connsiteY10" fmla="*/ 0 h 3205798"/>
                <a:gd name="connsiteX11" fmla="*/ 2055213 w 6337426"/>
                <a:gd name="connsiteY11" fmla="*/ 236391 h 3205798"/>
                <a:gd name="connsiteX12" fmla="*/ 1710296 w 6337426"/>
                <a:gd name="connsiteY12" fmla="*/ 774918 h 3205798"/>
                <a:gd name="connsiteX13" fmla="*/ 1048208 w 6337426"/>
                <a:gd name="connsiteY13" fmla="*/ 2716805 h 3205798"/>
                <a:gd name="connsiteX14" fmla="*/ 1039653 w 6337426"/>
                <a:gd name="connsiteY14" fmla="*/ 2842421 h 3205798"/>
                <a:gd name="connsiteX15" fmla="*/ 928095 w 6337426"/>
                <a:gd name="connsiteY15" fmla="*/ 2788760 h 3205798"/>
                <a:gd name="connsiteX16" fmla="*/ 0 w 6337426"/>
                <a:gd name="connsiteY16" fmla="*/ 1602899 h 3205798"/>
                <a:gd name="connsiteX17" fmla="*/ 1935307 w 6337426"/>
                <a:gd name="connsiteY17" fmla="*/ 57631 h 3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5798">
                  <a:moveTo>
                    <a:pt x="5297772" y="363376"/>
                  </a:moveTo>
                  <a:lnTo>
                    <a:pt x="5409332" y="417038"/>
                  </a:lnTo>
                  <a:cubicBezTo>
                    <a:pt x="5982756" y="720526"/>
                    <a:pt x="6337426" y="1139791"/>
                    <a:pt x="6337426" y="1602899"/>
                  </a:cubicBezTo>
                  <a:cubicBezTo>
                    <a:pt x="6337426" y="2355449"/>
                    <a:pt x="5400875" y="2992227"/>
                    <a:pt x="4110991" y="3204562"/>
                  </a:cubicBezTo>
                  <a:lnTo>
                    <a:pt x="4101908" y="3205798"/>
                  </a:lnTo>
                  <a:lnTo>
                    <a:pt x="4282212" y="2969408"/>
                  </a:lnTo>
                  <a:cubicBezTo>
                    <a:pt x="4403480" y="2801055"/>
                    <a:pt x="4519127" y="2621115"/>
                    <a:pt x="4627128" y="2430880"/>
                  </a:cubicBezTo>
                  <a:cubicBezTo>
                    <a:pt x="5005132" y="1765060"/>
                    <a:pt x="5226843" y="1083440"/>
                    <a:pt x="5289217" y="488994"/>
                  </a:cubicBezTo>
                  <a:close/>
                  <a:moveTo>
                    <a:pt x="1935307" y="57631"/>
                  </a:moveTo>
                  <a:cubicBezTo>
                    <a:pt x="2030082" y="36415"/>
                    <a:pt x="2127213" y="17570"/>
                    <a:pt x="2226435" y="1236"/>
                  </a:cubicBezTo>
                  <a:lnTo>
                    <a:pt x="2235517" y="0"/>
                  </a:lnTo>
                  <a:lnTo>
                    <a:pt x="2055213" y="236391"/>
                  </a:lnTo>
                  <a:cubicBezTo>
                    <a:pt x="1933944" y="404744"/>
                    <a:pt x="1818297" y="584684"/>
                    <a:pt x="1710296" y="774918"/>
                  </a:cubicBezTo>
                  <a:cubicBezTo>
                    <a:pt x="1332293" y="1440739"/>
                    <a:pt x="1110581" y="2122359"/>
                    <a:pt x="1048208" y="2716805"/>
                  </a:cubicBezTo>
                  <a:lnTo>
                    <a:pt x="1039653" y="2842421"/>
                  </a:lnTo>
                  <a:lnTo>
                    <a:pt x="928095" y="2788760"/>
                  </a:lnTo>
                  <a:cubicBezTo>
                    <a:pt x="354670" y="2485272"/>
                    <a:pt x="0" y="2066007"/>
                    <a:pt x="0" y="1602899"/>
                  </a:cubicBezTo>
                  <a:cubicBezTo>
                    <a:pt x="0" y="908238"/>
                    <a:pt x="798008" y="312222"/>
                    <a:pt x="1935307" y="57631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B3121CF6-AF15-7CF2-0027-618033B16F68}"/>
                </a:ext>
              </a:extLst>
            </p:cNvPr>
            <p:cNvSpPr>
              <a:spLocks noChangeAspect="1"/>
            </p:cNvSpPr>
            <p:nvPr/>
          </p:nvSpPr>
          <p:spPr>
            <a:xfrm rot="4260000">
              <a:off x="5838290" y="2381185"/>
              <a:ext cx="5237542" cy="2652651"/>
            </a:xfrm>
            <a:custGeom>
              <a:avLst/>
              <a:gdLst>
                <a:gd name="connsiteX0" fmla="*/ 4087537 w 6337426"/>
                <a:gd name="connsiteY0" fmla="*/ 3209708 h 3209708"/>
                <a:gd name="connsiteX1" fmla="*/ 4262287 w 6337426"/>
                <a:gd name="connsiteY1" fmla="*/ 2987359 h 3209708"/>
                <a:gd name="connsiteX2" fmla="*/ 4614973 w 6337426"/>
                <a:gd name="connsiteY2" fmla="*/ 2453888 h 3209708"/>
                <a:gd name="connsiteX3" fmla="*/ 5305141 w 6337426"/>
                <a:gd name="connsiteY3" fmla="*/ 521803 h 3209708"/>
                <a:gd name="connsiteX4" fmla="*/ 5317302 w 6337426"/>
                <a:gd name="connsiteY4" fmla="*/ 374726 h 3209708"/>
                <a:gd name="connsiteX5" fmla="*/ 5409332 w 6337426"/>
                <a:gd name="connsiteY5" fmla="*/ 418993 h 3209708"/>
                <a:gd name="connsiteX6" fmla="*/ 6337426 w 6337426"/>
                <a:gd name="connsiteY6" fmla="*/ 1604854 h 3209708"/>
                <a:gd name="connsiteX7" fmla="*/ 4110991 w 6337426"/>
                <a:gd name="connsiteY7" fmla="*/ 3206516 h 3209708"/>
                <a:gd name="connsiteX8" fmla="*/ 64377 w 6337426"/>
                <a:gd name="connsiteY8" fmla="*/ 1266868 h 3209708"/>
                <a:gd name="connsiteX9" fmla="*/ 2226435 w 6337426"/>
                <a:gd name="connsiteY9" fmla="*/ 3191 h 3209708"/>
                <a:gd name="connsiteX10" fmla="*/ 2249888 w 6337426"/>
                <a:gd name="connsiteY10" fmla="*/ 0 h 3209708"/>
                <a:gd name="connsiteX11" fmla="*/ 2075138 w 6337426"/>
                <a:gd name="connsiteY11" fmla="*/ 222348 h 3209708"/>
                <a:gd name="connsiteX12" fmla="*/ 1722452 w 6337426"/>
                <a:gd name="connsiteY12" fmla="*/ 755819 h 3209708"/>
                <a:gd name="connsiteX13" fmla="*/ 1032284 w 6337426"/>
                <a:gd name="connsiteY13" fmla="*/ 2687904 h 3209708"/>
                <a:gd name="connsiteX14" fmla="*/ 1020123 w 6337426"/>
                <a:gd name="connsiteY14" fmla="*/ 2834982 h 3209708"/>
                <a:gd name="connsiteX15" fmla="*/ 928095 w 6337426"/>
                <a:gd name="connsiteY15" fmla="*/ 2790715 h 3209708"/>
                <a:gd name="connsiteX16" fmla="*/ 0 w 6337426"/>
                <a:gd name="connsiteY16" fmla="*/ 1604854 h 3209708"/>
                <a:gd name="connsiteX17" fmla="*/ 64377 w 6337426"/>
                <a:gd name="connsiteY17" fmla="*/ 1266868 h 32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9708">
                  <a:moveTo>
                    <a:pt x="4087537" y="3209708"/>
                  </a:moveTo>
                  <a:lnTo>
                    <a:pt x="4262287" y="2987359"/>
                  </a:lnTo>
                  <a:cubicBezTo>
                    <a:pt x="4385983" y="2820781"/>
                    <a:pt x="4504226" y="2642537"/>
                    <a:pt x="4614973" y="2453888"/>
                  </a:cubicBezTo>
                  <a:cubicBezTo>
                    <a:pt x="5002589" y="1793617"/>
                    <a:pt x="5234158" y="1115283"/>
                    <a:pt x="5305141" y="521803"/>
                  </a:cubicBezTo>
                  <a:lnTo>
                    <a:pt x="5317302" y="374726"/>
                  </a:lnTo>
                  <a:lnTo>
                    <a:pt x="5409332" y="418993"/>
                  </a:lnTo>
                  <a:cubicBezTo>
                    <a:pt x="5982756" y="722482"/>
                    <a:pt x="6337426" y="1141747"/>
                    <a:pt x="6337426" y="1604854"/>
                  </a:cubicBezTo>
                  <a:cubicBezTo>
                    <a:pt x="6337426" y="2357404"/>
                    <a:pt x="5400875" y="2994182"/>
                    <a:pt x="4110991" y="3206516"/>
                  </a:cubicBezTo>
                  <a:close/>
                  <a:moveTo>
                    <a:pt x="64377" y="1266868"/>
                  </a:moveTo>
                  <a:cubicBezTo>
                    <a:pt x="296533" y="666418"/>
                    <a:pt x="1134995" y="182859"/>
                    <a:pt x="2226435" y="3191"/>
                  </a:cubicBezTo>
                  <a:lnTo>
                    <a:pt x="2249888" y="0"/>
                  </a:lnTo>
                  <a:lnTo>
                    <a:pt x="2075138" y="222348"/>
                  </a:lnTo>
                  <a:cubicBezTo>
                    <a:pt x="1951443" y="388926"/>
                    <a:pt x="1833199" y="567170"/>
                    <a:pt x="1722452" y="755819"/>
                  </a:cubicBezTo>
                  <a:cubicBezTo>
                    <a:pt x="1334837" y="1416090"/>
                    <a:pt x="1103268" y="2094425"/>
                    <a:pt x="1032284" y="2687904"/>
                  </a:cubicBezTo>
                  <a:lnTo>
                    <a:pt x="1020123" y="2834982"/>
                  </a:lnTo>
                  <a:lnTo>
                    <a:pt x="928095" y="2790715"/>
                  </a:lnTo>
                  <a:cubicBezTo>
                    <a:pt x="354670" y="2487226"/>
                    <a:pt x="0" y="2067961"/>
                    <a:pt x="0" y="1604854"/>
                  </a:cubicBezTo>
                  <a:cubicBezTo>
                    <a:pt x="0" y="1489077"/>
                    <a:pt x="22167" y="1376040"/>
                    <a:pt x="64377" y="1266868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ederal_Govern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A2350B-DF58-9EEE-4BBF-D8DE544C794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929139" y="3168641"/>
            <a:ext cx="871002" cy="872858"/>
            <a:chOff x="8" y="8"/>
            <a:chExt cx="470" cy="471"/>
          </a:xfrm>
          <a:solidFill>
            <a:srgbClr val="7F7F7F"/>
          </a:solidFill>
        </p:grpSpPr>
        <p:sp>
          <p:nvSpPr>
            <p:cNvPr id="10" name="Federal_Government">
              <a:extLst>
                <a:ext uri="{FF2B5EF4-FFF2-40B4-BE49-F238E27FC236}">
                  <a16:creationId xmlns:a16="http://schemas.microsoft.com/office/drawing/2014/main" id="{7442E5CA-81A2-130B-7740-C69E4B80F6F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ederal_Government">
              <a:extLst>
                <a:ext uri="{FF2B5EF4-FFF2-40B4-BE49-F238E27FC236}">
                  <a16:creationId xmlns:a16="http://schemas.microsoft.com/office/drawing/2014/main" id="{3A2651A7-A732-0D0F-0B6B-5339246696E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ederal_Government">
              <a:extLst>
                <a:ext uri="{FF2B5EF4-FFF2-40B4-BE49-F238E27FC236}">
                  <a16:creationId xmlns:a16="http://schemas.microsoft.com/office/drawing/2014/main" id="{783AC9CE-A6D9-11DB-F5EA-10037A58F8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ederal_Government">
              <a:extLst>
                <a:ext uri="{FF2B5EF4-FFF2-40B4-BE49-F238E27FC236}">
                  <a16:creationId xmlns:a16="http://schemas.microsoft.com/office/drawing/2014/main" id="{AEF892F4-8AC9-43CC-AD94-57429791DB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ederal_Government">
              <a:extLst>
                <a:ext uri="{FF2B5EF4-FFF2-40B4-BE49-F238E27FC236}">
                  <a16:creationId xmlns:a16="http://schemas.microsoft.com/office/drawing/2014/main" id="{6487A5B0-A272-0A12-0540-510A790DE3F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ederal_Government">
              <a:extLst>
                <a:ext uri="{FF2B5EF4-FFF2-40B4-BE49-F238E27FC236}">
                  <a16:creationId xmlns:a16="http://schemas.microsoft.com/office/drawing/2014/main" id="{DB9B0FAE-6121-3041-414B-87FAE5510D5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56" name="Agrupar 22555">
            <a:extLst>
              <a:ext uri="{FF2B5EF4-FFF2-40B4-BE49-F238E27FC236}">
                <a16:creationId xmlns:a16="http://schemas.microsoft.com/office/drawing/2014/main" id="{CA705E00-DAFA-ECE0-AEB0-EB9DA843DCB4}"/>
              </a:ext>
            </a:extLst>
          </p:cNvPr>
          <p:cNvGrpSpPr/>
          <p:nvPr/>
        </p:nvGrpSpPr>
        <p:grpSpPr>
          <a:xfrm>
            <a:off x="654414" y="980728"/>
            <a:ext cx="3755062" cy="1489318"/>
            <a:chOff x="654414" y="1412776"/>
            <a:chExt cx="3755062" cy="1489318"/>
          </a:xfrm>
        </p:grpSpPr>
        <p:sp>
          <p:nvSpPr>
            <p:cNvPr id="16" name="TextBox 7">
              <a:extLst>
                <a:ext uri="{FF2B5EF4-FFF2-40B4-BE49-F238E27FC236}">
                  <a16:creationId xmlns:a16="http://schemas.microsoft.com/office/drawing/2014/main" id="{7B53A3B8-3BBD-4C56-D915-DA2B8ECFE5E5}"/>
                </a:ext>
              </a:extLst>
            </p:cNvPr>
            <p:cNvSpPr txBox="1"/>
            <p:nvPr/>
          </p:nvSpPr>
          <p:spPr>
            <a:xfrm>
              <a:off x="1215899" y="1412776"/>
              <a:ext cx="3193577" cy="148931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Utilizado para representar um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cenário</a:t>
              </a:r>
              <a:r>
                <a:rPr lang="pt-BR" altLang="pt-BR" sz="2400" dirty="0">
                  <a:latin typeface="Gotham HTF"/>
                </a:rPr>
                <a:t>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para um determinado caso de uso.</a:t>
              </a:r>
            </a:p>
          </p:txBody>
        </p:sp>
        <p:sp>
          <p:nvSpPr>
            <p:cNvPr id="17" name="Rectangle 51">
              <a:extLst>
                <a:ext uri="{FF2B5EF4-FFF2-40B4-BE49-F238E27FC236}">
                  <a16:creationId xmlns:a16="http://schemas.microsoft.com/office/drawing/2014/main" id="{9B106413-BFA5-B4BC-9B6D-694221FE29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4" y="1667982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4472C4"/>
                  </a:solidFill>
                  <a:latin typeface="Calibri" panose="020F0502020204030204"/>
                </a:rPr>
                <a:t>1</a:t>
              </a:r>
            </a:p>
          </p:txBody>
        </p:sp>
      </p:grpSp>
      <p:grpSp>
        <p:nvGrpSpPr>
          <p:cNvPr id="22557" name="Agrupar 22556">
            <a:extLst>
              <a:ext uri="{FF2B5EF4-FFF2-40B4-BE49-F238E27FC236}">
                <a16:creationId xmlns:a16="http://schemas.microsoft.com/office/drawing/2014/main" id="{88DD3D81-93BD-B146-EA38-AB43447281C0}"/>
              </a:ext>
            </a:extLst>
          </p:cNvPr>
          <p:cNvGrpSpPr/>
          <p:nvPr/>
        </p:nvGrpSpPr>
        <p:grpSpPr>
          <a:xfrm>
            <a:off x="654413" y="2979372"/>
            <a:ext cx="3755063" cy="935321"/>
            <a:chOff x="654413" y="3411420"/>
            <a:chExt cx="3755063" cy="935321"/>
          </a:xfrm>
        </p:grpSpPr>
        <p:sp>
          <p:nvSpPr>
            <p:cNvPr id="18" name="Rectangle 52">
              <a:extLst>
                <a:ext uri="{FF2B5EF4-FFF2-40B4-BE49-F238E27FC236}">
                  <a16:creationId xmlns:a16="http://schemas.microsoft.com/office/drawing/2014/main" id="{EFA85EE5-5DA8-1B6E-071E-CB51141F12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3" y="3551210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ED7D31"/>
                  </a:solidFill>
                  <a:latin typeface="Calibri" panose="020F0502020204030204"/>
                </a:rPr>
                <a:t>2</a:t>
              </a:r>
            </a:p>
          </p:txBody>
        </p:sp>
        <p:sp>
          <p:nvSpPr>
            <p:cNvPr id="20" name="TextBox 54">
              <a:extLst>
                <a:ext uri="{FF2B5EF4-FFF2-40B4-BE49-F238E27FC236}">
                  <a16:creationId xmlns:a16="http://schemas.microsoft.com/office/drawing/2014/main" id="{91FDC69A-A246-72F4-8935-8ECB236F682D}"/>
                </a:ext>
              </a:extLst>
            </p:cNvPr>
            <p:cNvSpPr txBox="1"/>
            <p:nvPr/>
          </p:nvSpPr>
          <p:spPr>
            <a:xfrm>
              <a:off x="1215899" y="3411420"/>
              <a:ext cx="3193577" cy="93532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Mostra os eventos que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partem do ator e chegam ao sistema</a:t>
              </a:r>
              <a:r>
                <a:rPr lang="pt-BR" altLang="pt-BR" sz="2400" dirty="0">
                  <a:latin typeface="Gotham HTF"/>
                </a:rPr>
                <a:t>.</a:t>
              </a:r>
            </a:p>
          </p:txBody>
        </p:sp>
      </p:grpSp>
      <p:grpSp>
        <p:nvGrpSpPr>
          <p:cNvPr id="22558" name="Agrupar 22557">
            <a:extLst>
              <a:ext uri="{FF2B5EF4-FFF2-40B4-BE49-F238E27FC236}">
                <a16:creationId xmlns:a16="http://schemas.microsoft.com/office/drawing/2014/main" id="{1B4C5633-3C46-BC84-1BD6-8E6AC6C0BA83}"/>
              </a:ext>
            </a:extLst>
          </p:cNvPr>
          <p:cNvGrpSpPr/>
          <p:nvPr/>
        </p:nvGrpSpPr>
        <p:grpSpPr>
          <a:xfrm>
            <a:off x="654414" y="4635583"/>
            <a:ext cx="3755062" cy="1766317"/>
            <a:chOff x="654414" y="5067631"/>
            <a:chExt cx="3755062" cy="1766317"/>
          </a:xfrm>
        </p:grpSpPr>
        <p:sp>
          <p:nvSpPr>
            <p:cNvPr id="19" name="Rectangle 53">
              <a:extLst>
                <a:ext uri="{FF2B5EF4-FFF2-40B4-BE49-F238E27FC236}">
                  <a16:creationId xmlns:a16="http://schemas.microsoft.com/office/drawing/2014/main" id="{87D107D8-FF1A-6C3A-A783-E404CD3474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4" y="5322837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7F7F7F"/>
                  </a:solidFill>
                  <a:latin typeface="Calibri" panose="020F0502020204030204"/>
                </a:rPr>
                <a:t>3</a:t>
              </a:r>
            </a:p>
          </p:txBody>
        </p:sp>
        <p:sp>
          <p:nvSpPr>
            <p:cNvPr id="21" name="TextBox 55">
              <a:extLst>
                <a:ext uri="{FF2B5EF4-FFF2-40B4-BE49-F238E27FC236}">
                  <a16:creationId xmlns:a16="http://schemas.microsoft.com/office/drawing/2014/main" id="{98E2E2D6-B493-EAE0-B575-F242DC189487}"/>
                </a:ext>
              </a:extLst>
            </p:cNvPr>
            <p:cNvSpPr txBox="1"/>
            <p:nvPr/>
          </p:nvSpPr>
          <p:spPr>
            <a:xfrm>
              <a:off x="1215899" y="5067631"/>
              <a:ext cx="3193577" cy="176631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Para cada evento recebido o sistema irá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executar uma operação em resposta</a:t>
              </a:r>
              <a:r>
                <a:rPr lang="pt-BR" altLang="pt-BR" sz="2400" dirty="0">
                  <a:latin typeface="Gotham HTF"/>
                </a:rPr>
                <a:t> (requisitos de sistema).</a:t>
              </a:r>
              <a:endParaRPr lang="en-US" altLang="pt-BR" sz="2400" dirty="0">
                <a:latin typeface="Gotham HTF"/>
              </a:endParaRPr>
            </a:p>
          </p:txBody>
        </p:sp>
      </p:grpSp>
      <p:grpSp>
        <p:nvGrpSpPr>
          <p:cNvPr id="22" name="Competi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D0670C8-3E54-5FC4-C726-E121553C8077}"/>
              </a:ext>
            </a:extLst>
          </p:cNvPr>
          <p:cNvGrpSpPr>
            <a:grpSpLocks noChangeAspect="1"/>
          </p:cNvGrpSpPr>
          <p:nvPr/>
        </p:nvGrpSpPr>
        <p:grpSpPr>
          <a:xfrm>
            <a:off x="5091837" y="4550564"/>
            <a:ext cx="475493" cy="322748"/>
            <a:chOff x="4151313" y="1438275"/>
            <a:chExt cx="874713" cy="593725"/>
          </a:xfrm>
        </p:grpSpPr>
        <p:sp>
          <p:nvSpPr>
            <p:cNvPr id="23" name="Oval 2290">
              <a:extLst>
                <a:ext uri="{FF2B5EF4-FFF2-40B4-BE49-F238E27FC236}">
                  <a16:creationId xmlns:a16="http://schemas.microsoft.com/office/drawing/2014/main" id="{447E086C-0229-C044-F3D3-3BB5C961F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63" y="1438275"/>
              <a:ext cx="98425" cy="98425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val 2293">
              <a:extLst>
                <a:ext uri="{FF2B5EF4-FFF2-40B4-BE49-F238E27FC236}">
                  <a16:creationId xmlns:a16="http://schemas.microsoft.com/office/drawing/2014/main" id="{AFEFBCD1-E299-5427-82AE-9BD5D6EC4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295">
              <a:extLst>
                <a:ext uri="{FF2B5EF4-FFF2-40B4-BE49-F238E27FC236}">
                  <a16:creationId xmlns:a16="http://schemas.microsoft.com/office/drawing/2014/main" id="{60702C78-2149-58B6-49BD-88EE0A3BB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1568450"/>
              <a:ext cx="509588" cy="463550"/>
            </a:xfrm>
            <a:custGeom>
              <a:avLst/>
              <a:gdLst>
                <a:gd name="T0" fmla="*/ 251 w 457"/>
                <a:gd name="T1" fmla="*/ 185 h 416"/>
                <a:gd name="T2" fmla="*/ 289 w 457"/>
                <a:gd name="T3" fmla="*/ 86 h 416"/>
                <a:gd name="T4" fmla="*/ 326 w 457"/>
                <a:gd name="T5" fmla="*/ 135 h 416"/>
                <a:gd name="T6" fmla="*/ 346 w 457"/>
                <a:gd name="T7" fmla="*/ 145 h 416"/>
                <a:gd name="T8" fmla="*/ 352 w 457"/>
                <a:gd name="T9" fmla="*/ 144 h 416"/>
                <a:gd name="T10" fmla="*/ 434 w 457"/>
                <a:gd name="T11" fmla="*/ 126 h 416"/>
                <a:gd name="T12" fmla="*/ 456 w 457"/>
                <a:gd name="T13" fmla="*/ 100 h 416"/>
                <a:gd name="T14" fmla="*/ 425 w 457"/>
                <a:gd name="T15" fmla="*/ 76 h 416"/>
                <a:gd name="T16" fmla="*/ 357 w 457"/>
                <a:gd name="T17" fmla="*/ 91 h 416"/>
                <a:gd name="T18" fmla="*/ 306 w 457"/>
                <a:gd name="T19" fmla="*/ 23 h 416"/>
                <a:gd name="T20" fmla="*/ 259 w 457"/>
                <a:gd name="T21" fmla="*/ 0 h 416"/>
                <a:gd name="T22" fmla="*/ 144 w 457"/>
                <a:gd name="T23" fmla="*/ 0 h 416"/>
                <a:gd name="T24" fmla="*/ 121 w 457"/>
                <a:gd name="T25" fmla="*/ 13 h 416"/>
                <a:gd name="T26" fmla="*/ 79 w 457"/>
                <a:gd name="T27" fmla="*/ 105 h 416"/>
                <a:gd name="T28" fmla="*/ 88 w 457"/>
                <a:gd name="T29" fmla="*/ 139 h 416"/>
                <a:gd name="T30" fmla="*/ 101 w 457"/>
                <a:gd name="T31" fmla="*/ 143 h 416"/>
                <a:gd name="T32" fmla="*/ 123 w 457"/>
                <a:gd name="T33" fmla="*/ 130 h 416"/>
                <a:gd name="T34" fmla="*/ 159 w 457"/>
                <a:gd name="T35" fmla="*/ 52 h 416"/>
                <a:gd name="T36" fmla="*/ 211 w 457"/>
                <a:gd name="T37" fmla="*/ 52 h 416"/>
                <a:gd name="T38" fmla="*/ 130 w 457"/>
                <a:gd name="T39" fmla="*/ 266 h 416"/>
                <a:gd name="T40" fmla="*/ 26 w 457"/>
                <a:gd name="T41" fmla="*/ 266 h 416"/>
                <a:gd name="T42" fmla="*/ 0 w 457"/>
                <a:gd name="T43" fmla="*/ 291 h 416"/>
                <a:gd name="T44" fmla="*/ 26 w 457"/>
                <a:gd name="T45" fmla="*/ 317 h 416"/>
                <a:gd name="T46" fmla="*/ 157 w 457"/>
                <a:gd name="T47" fmla="*/ 317 h 416"/>
                <a:gd name="T48" fmla="*/ 181 w 457"/>
                <a:gd name="T49" fmla="*/ 300 h 416"/>
                <a:gd name="T50" fmla="*/ 209 w 457"/>
                <a:gd name="T51" fmla="*/ 228 h 416"/>
                <a:gd name="T52" fmla="*/ 286 w 457"/>
                <a:gd name="T53" fmla="*/ 295 h 416"/>
                <a:gd name="T54" fmla="*/ 323 w 457"/>
                <a:gd name="T55" fmla="*/ 399 h 416"/>
                <a:gd name="T56" fmla="*/ 347 w 457"/>
                <a:gd name="T57" fmla="*/ 416 h 416"/>
                <a:gd name="T58" fmla="*/ 355 w 457"/>
                <a:gd name="T59" fmla="*/ 415 h 416"/>
                <a:gd name="T60" fmla="*/ 371 w 457"/>
                <a:gd name="T61" fmla="*/ 382 h 416"/>
                <a:gd name="T62" fmla="*/ 326 w 457"/>
                <a:gd name="T63" fmla="*/ 255 h 416"/>
                <a:gd name="T64" fmla="*/ 319 w 457"/>
                <a:gd name="T65" fmla="*/ 244 h 416"/>
                <a:gd name="T66" fmla="*/ 251 w 457"/>
                <a:gd name="T67" fmla="*/ 18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7" h="416">
                  <a:moveTo>
                    <a:pt x="251" y="185"/>
                  </a:moveTo>
                  <a:lnTo>
                    <a:pt x="289" y="86"/>
                  </a:lnTo>
                  <a:lnTo>
                    <a:pt x="326" y="135"/>
                  </a:lnTo>
                  <a:cubicBezTo>
                    <a:pt x="331" y="141"/>
                    <a:pt x="338" y="145"/>
                    <a:pt x="346" y="145"/>
                  </a:cubicBezTo>
                  <a:cubicBezTo>
                    <a:pt x="348" y="145"/>
                    <a:pt x="350" y="145"/>
                    <a:pt x="352" y="144"/>
                  </a:cubicBezTo>
                  <a:lnTo>
                    <a:pt x="434" y="126"/>
                  </a:lnTo>
                  <a:cubicBezTo>
                    <a:pt x="447" y="124"/>
                    <a:pt x="457" y="113"/>
                    <a:pt x="456" y="100"/>
                  </a:cubicBezTo>
                  <a:cubicBezTo>
                    <a:pt x="455" y="84"/>
                    <a:pt x="440" y="73"/>
                    <a:pt x="425" y="76"/>
                  </a:cubicBezTo>
                  <a:lnTo>
                    <a:pt x="357" y="91"/>
                  </a:lnTo>
                  <a:lnTo>
                    <a:pt x="306" y="23"/>
                  </a:lnTo>
                  <a:cubicBezTo>
                    <a:pt x="295" y="9"/>
                    <a:pt x="278" y="0"/>
                    <a:pt x="259" y="0"/>
                  </a:cubicBezTo>
                  <a:lnTo>
                    <a:pt x="144" y="0"/>
                  </a:lnTo>
                  <a:cubicBezTo>
                    <a:pt x="135" y="0"/>
                    <a:pt x="126" y="5"/>
                    <a:pt x="121" y="13"/>
                  </a:cubicBezTo>
                  <a:lnTo>
                    <a:pt x="79" y="105"/>
                  </a:lnTo>
                  <a:cubicBezTo>
                    <a:pt x="72" y="117"/>
                    <a:pt x="76" y="133"/>
                    <a:pt x="88" y="139"/>
                  </a:cubicBezTo>
                  <a:cubicBezTo>
                    <a:pt x="92" y="142"/>
                    <a:pt x="97" y="143"/>
                    <a:pt x="101" y="143"/>
                  </a:cubicBezTo>
                  <a:cubicBezTo>
                    <a:pt x="110" y="143"/>
                    <a:pt x="119" y="138"/>
                    <a:pt x="123" y="130"/>
                  </a:cubicBezTo>
                  <a:lnTo>
                    <a:pt x="159" y="52"/>
                  </a:lnTo>
                  <a:lnTo>
                    <a:pt x="211" y="52"/>
                  </a:lnTo>
                  <a:lnTo>
                    <a:pt x="130" y="266"/>
                  </a:lnTo>
                  <a:lnTo>
                    <a:pt x="26" y="266"/>
                  </a:lnTo>
                  <a:cubicBezTo>
                    <a:pt x="12" y="266"/>
                    <a:pt x="0" y="277"/>
                    <a:pt x="0" y="291"/>
                  </a:cubicBezTo>
                  <a:cubicBezTo>
                    <a:pt x="0" y="306"/>
                    <a:pt x="12" y="317"/>
                    <a:pt x="26" y="317"/>
                  </a:cubicBezTo>
                  <a:lnTo>
                    <a:pt x="157" y="317"/>
                  </a:lnTo>
                  <a:cubicBezTo>
                    <a:pt x="167" y="317"/>
                    <a:pt x="177" y="310"/>
                    <a:pt x="181" y="300"/>
                  </a:cubicBezTo>
                  <a:lnTo>
                    <a:pt x="209" y="228"/>
                  </a:lnTo>
                  <a:lnTo>
                    <a:pt x="286" y="295"/>
                  </a:lnTo>
                  <a:lnTo>
                    <a:pt x="323" y="399"/>
                  </a:lnTo>
                  <a:cubicBezTo>
                    <a:pt x="326" y="410"/>
                    <a:pt x="336" y="416"/>
                    <a:pt x="347" y="416"/>
                  </a:cubicBezTo>
                  <a:cubicBezTo>
                    <a:pt x="350" y="416"/>
                    <a:pt x="352" y="416"/>
                    <a:pt x="355" y="415"/>
                  </a:cubicBezTo>
                  <a:cubicBezTo>
                    <a:pt x="368" y="410"/>
                    <a:pt x="376" y="396"/>
                    <a:pt x="371" y="382"/>
                  </a:cubicBezTo>
                  <a:lnTo>
                    <a:pt x="326" y="255"/>
                  </a:lnTo>
                  <a:cubicBezTo>
                    <a:pt x="325" y="251"/>
                    <a:pt x="322" y="247"/>
                    <a:pt x="319" y="244"/>
                  </a:cubicBezTo>
                  <a:lnTo>
                    <a:pt x="251" y="185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60">
              <a:extLst>
                <a:ext uri="{FF2B5EF4-FFF2-40B4-BE49-F238E27FC236}">
                  <a16:creationId xmlns:a16="http://schemas.microsoft.com/office/drawing/2014/main" id="{1F2C18FF-4DD5-904D-73DC-0ED8A6D9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1566863"/>
              <a:ext cx="800649" cy="465137"/>
            </a:xfrm>
            <a:custGeom>
              <a:avLst/>
              <a:gdLst>
                <a:gd name="connsiteX0" fmla="*/ 469397 w 800649"/>
                <a:gd name="connsiteY0" fmla="*/ 59531 h 465137"/>
                <a:gd name="connsiteX1" fmla="*/ 457836 w 800649"/>
                <a:gd name="connsiteY1" fmla="*/ 84561 h 465137"/>
                <a:gd name="connsiteX2" fmla="*/ 467092 w 800649"/>
                <a:gd name="connsiteY2" fmla="*/ 82519 h 465137"/>
                <a:gd name="connsiteX3" fmla="*/ 500535 w 800649"/>
                <a:gd name="connsiteY3" fmla="*/ 109282 h 465137"/>
                <a:gd name="connsiteX4" fmla="*/ 477125 w 800649"/>
                <a:gd name="connsiteY4" fmla="*/ 138275 h 465137"/>
                <a:gd name="connsiteX5" fmla="*/ 427146 w 800649"/>
                <a:gd name="connsiteY5" fmla="*/ 148640 h 465137"/>
                <a:gd name="connsiteX6" fmla="*/ 419079 w 800649"/>
                <a:gd name="connsiteY6" fmla="*/ 157032 h 465137"/>
                <a:gd name="connsiteX7" fmla="*/ 404723 w 800649"/>
                <a:gd name="connsiteY7" fmla="*/ 160932 h 465137"/>
                <a:gd name="connsiteX8" fmla="*/ 390227 w 800649"/>
                <a:gd name="connsiteY8" fmla="*/ 156475 h 465137"/>
                <a:gd name="connsiteX9" fmla="*/ 390106 w 800649"/>
                <a:gd name="connsiteY9" fmla="*/ 156321 h 465137"/>
                <a:gd name="connsiteX10" fmla="*/ 385713 w 800649"/>
                <a:gd name="connsiteY10" fmla="*/ 157232 h 465137"/>
                <a:gd name="connsiteX11" fmla="*/ 380139 w 800649"/>
                <a:gd name="connsiteY11" fmla="*/ 158347 h 465137"/>
                <a:gd name="connsiteX12" fmla="*/ 357844 w 800649"/>
                <a:gd name="connsiteY12" fmla="*/ 147196 h 465137"/>
                <a:gd name="connsiteX13" fmla="*/ 316597 w 800649"/>
                <a:gd name="connsiteY13" fmla="*/ 93670 h 465137"/>
                <a:gd name="connsiteX14" fmla="*/ 275350 w 800649"/>
                <a:gd name="connsiteY14" fmla="*/ 202952 h 465137"/>
                <a:gd name="connsiteX15" fmla="*/ 350040 w 800649"/>
                <a:gd name="connsiteY15" fmla="*/ 267629 h 465137"/>
                <a:gd name="connsiteX16" fmla="*/ 357844 w 800649"/>
                <a:gd name="connsiteY16" fmla="*/ 279896 h 465137"/>
                <a:gd name="connsiteX17" fmla="*/ 364212 w 800649"/>
                <a:gd name="connsiteY17" fmla="*/ 297992 h 465137"/>
                <a:gd name="connsiteX18" fmla="*/ 437060 w 800649"/>
                <a:gd name="connsiteY18" fmla="*/ 297992 h 465137"/>
                <a:gd name="connsiteX19" fmla="*/ 527380 w 800649"/>
                <a:gd name="connsiteY19" fmla="*/ 59531 h 465137"/>
                <a:gd name="connsiteX20" fmla="*/ 157183 w 800649"/>
                <a:gd name="connsiteY20" fmla="*/ 0 h 465137"/>
                <a:gd name="connsiteX21" fmla="*/ 284268 w 800649"/>
                <a:gd name="connsiteY21" fmla="*/ 0 h 465137"/>
                <a:gd name="connsiteX22" fmla="*/ 335548 w 800649"/>
                <a:gd name="connsiteY22" fmla="*/ 24533 h 465137"/>
                <a:gd name="connsiteX23" fmla="*/ 389886 w 800649"/>
                <a:gd name="connsiteY23" fmla="*/ 97367 h 465137"/>
                <a:gd name="connsiteX24" fmla="*/ 427024 w 800649"/>
                <a:gd name="connsiteY24" fmla="*/ 16073 h 465137"/>
                <a:gd name="connsiteX25" fmla="*/ 452671 w 800649"/>
                <a:gd name="connsiteY25" fmla="*/ 1587 h 465137"/>
                <a:gd name="connsiteX26" fmla="*/ 580904 w 800649"/>
                <a:gd name="connsiteY26" fmla="*/ 1587 h 465137"/>
                <a:gd name="connsiteX27" fmla="*/ 633312 w 800649"/>
                <a:gd name="connsiteY27" fmla="*/ 27216 h 465137"/>
                <a:gd name="connsiteX28" fmla="*/ 690181 w 800649"/>
                <a:gd name="connsiteY28" fmla="*/ 102989 h 465137"/>
                <a:gd name="connsiteX29" fmla="*/ 766006 w 800649"/>
                <a:gd name="connsiteY29" fmla="*/ 86274 h 465137"/>
                <a:gd name="connsiteX30" fmla="*/ 800573 w 800649"/>
                <a:gd name="connsiteY30" fmla="*/ 113017 h 465137"/>
                <a:gd name="connsiteX31" fmla="*/ 776042 w 800649"/>
                <a:gd name="connsiteY31" fmla="*/ 141989 h 465137"/>
                <a:gd name="connsiteX32" fmla="*/ 684606 w 800649"/>
                <a:gd name="connsiteY32" fmla="*/ 162047 h 465137"/>
                <a:gd name="connsiteX33" fmla="*/ 677915 w 800649"/>
                <a:gd name="connsiteY33" fmla="*/ 163161 h 465137"/>
                <a:gd name="connsiteX34" fmla="*/ 655614 w 800649"/>
                <a:gd name="connsiteY34" fmla="*/ 152018 h 465137"/>
                <a:gd name="connsiteX35" fmla="*/ 614356 w 800649"/>
                <a:gd name="connsiteY35" fmla="*/ 97417 h 465137"/>
                <a:gd name="connsiteX36" fmla="*/ 571983 w 800649"/>
                <a:gd name="connsiteY36" fmla="*/ 207733 h 465137"/>
                <a:gd name="connsiteX37" fmla="*/ 647808 w 800649"/>
                <a:gd name="connsiteY37" fmla="*/ 273477 h 465137"/>
                <a:gd name="connsiteX38" fmla="*/ 655614 w 800649"/>
                <a:gd name="connsiteY38" fmla="*/ 285734 h 465137"/>
                <a:gd name="connsiteX39" fmla="*/ 705792 w 800649"/>
                <a:gd name="connsiteY39" fmla="*/ 427251 h 465137"/>
                <a:gd name="connsiteX40" fmla="*/ 687951 w 800649"/>
                <a:gd name="connsiteY40" fmla="*/ 464023 h 465137"/>
                <a:gd name="connsiteX41" fmla="*/ 679030 w 800649"/>
                <a:gd name="connsiteY41" fmla="*/ 465137 h 465137"/>
                <a:gd name="connsiteX42" fmla="*/ 652269 w 800649"/>
                <a:gd name="connsiteY42" fmla="*/ 446194 h 465137"/>
                <a:gd name="connsiteX43" fmla="*/ 611011 w 800649"/>
                <a:gd name="connsiteY43" fmla="*/ 330306 h 465137"/>
                <a:gd name="connsiteX44" fmla="*/ 525150 w 800649"/>
                <a:gd name="connsiteY44" fmla="*/ 255648 h 465137"/>
                <a:gd name="connsiteX45" fmla="*/ 493928 w 800649"/>
                <a:gd name="connsiteY45" fmla="*/ 335878 h 465137"/>
                <a:gd name="connsiteX46" fmla="*/ 467167 w 800649"/>
                <a:gd name="connsiteY46" fmla="*/ 354821 h 465137"/>
                <a:gd name="connsiteX47" fmla="*/ 384209 w 800649"/>
                <a:gd name="connsiteY47" fmla="*/ 354821 h 465137"/>
                <a:gd name="connsiteX48" fmla="*/ 406894 w 800649"/>
                <a:gd name="connsiteY48" fmla="*/ 419286 h 465137"/>
                <a:gd name="connsiteX49" fmla="*/ 390172 w 800649"/>
                <a:gd name="connsiteY49" fmla="*/ 456085 h 465137"/>
                <a:gd name="connsiteX50" fmla="*/ 381254 w 800649"/>
                <a:gd name="connsiteY50" fmla="*/ 457200 h 465137"/>
                <a:gd name="connsiteX51" fmla="*/ 354500 w 800649"/>
                <a:gd name="connsiteY51" fmla="*/ 438243 h 465137"/>
                <a:gd name="connsiteX52" fmla="*/ 325352 w 800649"/>
                <a:gd name="connsiteY52" fmla="*/ 354821 h 465137"/>
                <a:gd name="connsiteX53" fmla="*/ 321092 w 800649"/>
                <a:gd name="connsiteY53" fmla="*/ 354821 h 465137"/>
                <a:gd name="connsiteX54" fmla="*/ 292100 w 800649"/>
                <a:gd name="connsiteY54" fmla="*/ 325849 h 465137"/>
                <a:gd name="connsiteX55" fmla="*/ 298952 w 800649"/>
                <a:gd name="connsiteY55" fmla="*/ 310168 h 465137"/>
                <a:gd name="connsiteX56" fmla="*/ 228529 w 800649"/>
                <a:gd name="connsiteY56" fmla="*/ 249787 h 465137"/>
                <a:gd name="connsiteX57" fmla="*/ 198430 w 800649"/>
                <a:gd name="connsiteY57" fmla="*/ 330076 h 465137"/>
                <a:gd name="connsiteX58" fmla="*/ 171676 w 800649"/>
                <a:gd name="connsiteY58" fmla="*/ 347918 h 465137"/>
                <a:gd name="connsiteX59" fmla="*/ 27869 w 800649"/>
                <a:gd name="connsiteY59" fmla="*/ 347918 h 465137"/>
                <a:gd name="connsiteX60" fmla="*/ 0 w 800649"/>
                <a:gd name="connsiteY60" fmla="*/ 320040 h 465137"/>
                <a:gd name="connsiteX61" fmla="*/ 27869 w 800649"/>
                <a:gd name="connsiteY61" fmla="*/ 292162 h 465137"/>
                <a:gd name="connsiteX62" fmla="*/ 141577 w 800649"/>
                <a:gd name="connsiteY62" fmla="*/ 292162 h 465137"/>
                <a:gd name="connsiteX63" fmla="*/ 230759 w 800649"/>
                <a:gd name="connsiteY63" fmla="*/ 55756 h 465137"/>
                <a:gd name="connsiteX64" fmla="*/ 173905 w 800649"/>
                <a:gd name="connsiteY64" fmla="*/ 55756 h 465137"/>
                <a:gd name="connsiteX65" fmla="*/ 134888 w 800649"/>
                <a:gd name="connsiteY65" fmla="*/ 141621 h 465137"/>
                <a:gd name="connsiteX66" fmla="*/ 110363 w 800649"/>
                <a:gd name="connsiteY66" fmla="*/ 156117 h 465137"/>
                <a:gd name="connsiteX67" fmla="*/ 96985 w 800649"/>
                <a:gd name="connsiteY67" fmla="*/ 152772 h 465137"/>
                <a:gd name="connsiteX68" fmla="*/ 85838 w 800649"/>
                <a:gd name="connsiteY68" fmla="*/ 114858 h 465137"/>
                <a:gd name="connsiteX69" fmla="*/ 132658 w 800649"/>
                <a:gd name="connsiteY69" fmla="*/ 14497 h 465137"/>
                <a:gd name="connsiteX70" fmla="*/ 157183 w 800649"/>
                <a:gd name="connsiteY70" fmla="*/ 0 h 4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00649" h="465137">
                  <a:moveTo>
                    <a:pt x="469397" y="59531"/>
                  </a:moveTo>
                  <a:lnTo>
                    <a:pt x="457836" y="84561"/>
                  </a:lnTo>
                  <a:lnTo>
                    <a:pt x="467092" y="82519"/>
                  </a:lnTo>
                  <a:cubicBezTo>
                    <a:pt x="483814" y="79174"/>
                    <a:pt x="499421" y="91440"/>
                    <a:pt x="500535" y="109282"/>
                  </a:cubicBezTo>
                  <a:cubicBezTo>
                    <a:pt x="501650" y="122663"/>
                    <a:pt x="490502" y="134930"/>
                    <a:pt x="477125" y="138275"/>
                  </a:cubicBezTo>
                  <a:lnTo>
                    <a:pt x="427146" y="148640"/>
                  </a:lnTo>
                  <a:lnTo>
                    <a:pt x="419079" y="157032"/>
                  </a:lnTo>
                  <a:cubicBezTo>
                    <a:pt x="414758" y="159539"/>
                    <a:pt x="409741" y="160932"/>
                    <a:pt x="404723" y="160932"/>
                  </a:cubicBezTo>
                  <a:cubicBezTo>
                    <a:pt x="400262" y="160932"/>
                    <a:pt x="394687" y="159818"/>
                    <a:pt x="390227" y="156475"/>
                  </a:cubicBezTo>
                  <a:lnTo>
                    <a:pt x="390106" y="156321"/>
                  </a:lnTo>
                  <a:lnTo>
                    <a:pt x="385713" y="157232"/>
                  </a:lnTo>
                  <a:cubicBezTo>
                    <a:pt x="384599" y="158347"/>
                    <a:pt x="382369" y="158347"/>
                    <a:pt x="380139" y="158347"/>
                  </a:cubicBezTo>
                  <a:cubicBezTo>
                    <a:pt x="371221" y="158347"/>
                    <a:pt x="363418" y="153887"/>
                    <a:pt x="357844" y="147196"/>
                  </a:cubicBezTo>
                  <a:lnTo>
                    <a:pt x="316597" y="93670"/>
                  </a:lnTo>
                  <a:lnTo>
                    <a:pt x="275350" y="202952"/>
                  </a:lnTo>
                  <a:lnTo>
                    <a:pt x="350040" y="267629"/>
                  </a:lnTo>
                  <a:cubicBezTo>
                    <a:pt x="353385" y="270975"/>
                    <a:pt x="356729" y="275435"/>
                    <a:pt x="357844" y="279896"/>
                  </a:cubicBezTo>
                  <a:lnTo>
                    <a:pt x="364212" y="297992"/>
                  </a:lnTo>
                  <a:lnTo>
                    <a:pt x="437060" y="297992"/>
                  </a:lnTo>
                  <a:lnTo>
                    <a:pt x="527380" y="59531"/>
                  </a:lnTo>
                  <a:close/>
                  <a:moveTo>
                    <a:pt x="157183" y="0"/>
                  </a:moveTo>
                  <a:lnTo>
                    <a:pt x="284268" y="0"/>
                  </a:lnTo>
                  <a:cubicBezTo>
                    <a:pt x="304335" y="0"/>
                    <a:pt x="323286" y="8921"/>
                    <a:pt x="335548" y="24533"/>
                  </a:cubicBezTo>
                  <a:lnTo>
                    <a:pt x="389886" y="97367"/>
                  </a:lnTo>
                  <a:lnTo>
                    <a:pt x="427024" y="16073"/>
                  </a:lnTo>
                  <a:cubicBezTo>
                    <a:pt x="432599" y="7159"/>
                    <a:pt x="442635" y="1587"/>
                    <a:pt x="452671" y="1587"/>
                  </a:cubicBezTo>
                  <a:lnTo>
                    <a:pt x="580904" y="1587"/>
                  </a:lnTo>
                  <a:cubicBezTo>
                    <a:pt x="602090" y="1587"/>
                    <a:pt x="621047" y="11616"/>
                    <a:pt x="633312" y="27216"/>
                  </a:cubicBezTo>
                  <a:lnTo>
                    <a:pt x="690181" y="102989"/>
                  </a:lnTo>
                  <a:lnTo>
                    <a:pt x="766006" y="86274"/>
                  </a:lnTo>
                  <a:cubicBezTo>
                    <a:pt x="782732" y="82931"/>
                    <a:pt x="799458" y="95189"/>
                    <a:pt x="800573" y="113017"/>
                  </a:cubicBezTo>
                  <a:cubicBezTo>
                    <a:pt x="801688" y="127503"/>
                    <a:pt x="790538" y="139761"/>
                    <a:pt x="776042" y="141989"/>
                  </a:cubicBezTo>
                  <a:lnTo>
                    <a:pt x="684606" y="162047"/>
                  </a:lnTo>
                  <a:cubicBezTo>
                    <a:pt x="682376" y="163161"/>
                    <a:pt x="680145" y="163161"/>
                    <a:pt x="677915" y="163161"/>
                  </a:cubicBezTo>
                  <a:cubicBezTo>
                    <a:pt x="668995" y="163161"/>
                    <a:pt x="661189" y="158704"/>
                    <a:pt x="655614" y="152018"/>
                  </a:cubicBezTo>
                  <a:lnTo>
                    <a:pt x="614356" y="97417"/>
                  </a:lnTo>
                  <a:lnTo>
                    <a:pt x="571983" y="207733"/>
                  </a:lnTo>
                  <a:lnTo>
                    <a:pt x="647808" y="273477"/>
                  </a:lnTo>
                  <a:cubicBezTo>
                    <a:pt x="651153" y="276820"/>
                    <a:pt x="654499" y="281277"/>
                    <a:pt x="655614" y="285734"/>
                  </a:cubicBezTo>
                  <a:lnTo>
                    <a:pt x="705792" y="427251"/>
                  </a:lnTo>
                  <a:cubicBezTo>
                    <a:pt x="711367" y="442851"/>
                    <a:pt x="702447" y="458451"/>
                    <a:pt x="687951" y="464023"/>
                  </a:cubicBezTo>
                  <a:cubicBezTo>
                    <a:pt x="684606" y="465137"/>
                    <a:pt x="682376" y="465137"/>
                    <a:pt x="679030" y="465137"/>
                  </a:cubicBezTo>
                  <a:cubicBezTo>
                    <a:pt x="666764" y="465137"/>
                    <a:pt x="655614" y="458451"/>
                    <a:pt x="652269" y="446194"/>
                  </a:cubicBezTo>
                  <a:lnTo>
                    <a:pt x="611011" y="330306"/>
                  </a:lnTo>
                  <a:lnTo>
                    <a:pt x="525150" y="255648"/>
                  </a:lnTo>
                  <a:lnTo>
                    <a:pt x="493928" y="335878"/>
                  </a:lnTo>
                  <a:cubicBezTo>
                    <a:pt x="489468" y="347021"/>
                    <a:pt x="478317" y="354821"/>
                    <a:pt x="467167" y="354821"/>
                  </a:cubicBezTo>
                  <a:lnTo>
                    <a:pt x="384209" y="354821"/>
                  </a:lnTo>
                  <a:lnTo>
                    <a:pt x="406894" y="419286"/>
                  </a:lnTo>
                  <a:cubicBezTo>
                    <a:pt x="412468" y="434898"/>
                    <a:pt x="404665" y="450509"/>
                    <a:pt x="390172" y="456085"/>
                  </a:cubicBezTo>
                  <a:cubicBezTo>
                    <a:pt x="386828" y="457200"/>
                    <a:pt x="383484" y="457200"/>
                    <a:pt x="381254" y="457200"/>
                  </a:cubicBezTo>
                  <a:cubicBezTo>
                    <a:pt x="368992" y="457200"/>
                    <a:pt x="357844" y="449394"/>
                    <a:pt x="354500" y="438243"/>
                  </a:cubicBezTo>
                  <a:lnTo>
                    <a:pt x="325352" y="354821"/>
                  </a:lnTo>
                  <a:lnTo>
                    <a:pt x="321092" y="354821"/>
                  </a:lnTo>
                  <a:cubicBezTo>
                    <a:pt x="305481" y="354821"/>
                    <a:pt x="292100" y="342564"/>
                    <a:pt x="292100" y="325849"/>
                  </a:cubicBezTo>
                  <a:lnTo>
                    <a:pt x="298952" y="310168"/>
                  </a:lnTo>
                  <a:lnTo>
                    <a:pt x="228529" y="249787"/>
                  </a:lnTo>
                  <a:lnTo>
                    <a:pt x="198430" y="330076"/>
                  </a:lnTo>
                  <a:cubicBezTo>
                    <a:pt x="193971" y="340112"/>
                    <a:pt x="183938" y="347918"/>
                    <a:pt x="171676" y="347918"/>
                  </a:cubicBezTo>
                  <a:lnTo>
                    <a:pt x="27869" y="347918"/>
                  </a:lnTo>
                  <a:cubicBezTo>
                    <a:pt x="12262" y="347918"/>
                    <a:pt x="0" y="335652"/>
                    <a:pt x="0" y="320040"/>
                  </a:cubicBezTo>
                  <a:cubicBezTo>
                    <a:pt x="0" y="304428"/>
                    <a:pt x="12262" y="292162"/>
                    <a:pt x="27869" y="292162"/>
                  </a:cubicBezTo>
                  <a:lnTo>
                    <a:pt x="141577" y="292162"/>
                  </a:lnTo>
                  <a:lnTo>
                    <a:pt x="230759" y="55756"/>
                  </a:lnTo>
                  <a:lnTo>
                    <a:pt x="173905" y="55756"/>
                  </a:lnTo>
                  <a:lnTo>
                    <a:pt x="134888" y="141621"/>
                  </a:lnTo>
                  <a:cubicBezTo>
                    <a:pt x="130429" y="151657"/>
                    <a:pt x="120396" y="156117"/>
                    <a:pt x="110363" y="156117"/>
                  </a:cubicBezTo>
                  <a:cubicBezTo>
                    <a:pt x="105904" y="156117"/>
                    <a:pt x="101445" y="155002"/>
                    <a:pt x="96985" y="152772"/>
                  </a:cubicBezTo>
                  <a:cubicBezTo>
                    <a:pt x="83608" y="144966"/>
                    <a:pt x="78034" y="128239"/>
                    <a:pt x="85838" y="114858"/>
                  </a:cubicBezTo>
                  <a:lnTo>
                    <a:pt x="132658" y="14497"/>
                  </a:lnTo>
                  <a:cubicBezTo>
                    <a:pt x="138232" y="5576"/>
                    <a:pt x="147150" y="0"/>
                    <a:pt x="157183" y="0"/>
                  </a:cubicBez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Oval 2297">
              <a:extLst>
                <a:ext uri="{FF2B5EF4-FFF2-40B4-BE49-F238E27FC236}">
                  <a16:creationId xmlns:a16="http://schemas.microsoft.com/office/drawing/2014/main" id="{4229104F-1BB2-5DC5-8F94-905BDBEC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98">
              <a:extLst>
                <a:ext uri="{FF2B5EF4-FFF2-40B4-BE49-F238E27FC236}">
                  <a16:creationId xmlns:a16="http://schemas.microsoft.com/office/drawing/2014/main" id="{AEE5556B-57C0-AB0F-33C2-0AA705B69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26" y="1733550"/>
              <a:ext cx="152400" cy="127000"/>
            </a:xfrm>
            <a:custGeom>
              <a:avLst/>
              <a:gdLst>
                <a:gd name="T0" fmla="*/ 138 w 138"/>
                <a:gd name="T1" fmla="*/ 87 h 113"/>
                <a:gd name="T2" fmla="*/ 19 w 138"/>
                <a:gd name="T3" fmla="*/ 113 h 113"/>
                <a:gd name="T4" fmla="*/ 0 w 138"/>
                <a:gd name="T5" fmla="*/ 26 h 113"/>
                <a:gd name="T6" fmla="*/ 119 w 138"/>
                <a:gd name="T7" fmla="*/ 0 h 113"/>
                <a:gd name="T8" fmla="*/ 138 w 138"/>
                <a:gd name="T9" fmla="*/ 8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13">
                  <a:moveTo>
                    <a:pt x="138" y="87"/>
                  </a:moveTo>
                  <a:lnTo>
                    <a:pt x="19" y="113"/>
                  </a:lnTo>
                  <a:lnTo>
                    <a:pt x="0" y="26"/>
                  </a:lnTo>
                  <a:lnTo>
                    <a:pt x="119" y="0"/>
                  </a:lnTo>
                  <a:lnTo>
                    <a:pt x="138" y="87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nstruc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812795-0096-082D-1073-DC0A4281AE55}"/>
              </a:ext>
            </a:extLst>
          </p:cNvPr>
          <p:cNvGrpSpPr>
            <a:grpSpLocks noChangeAspect="1"/>
          </p:cNvGrpSpPr>
          <p:nvPr/>
        </p:nvGrpSpPr>
        <p:grpSpPr>
          <a:xfrm>
            <a:off x="4735424" y="2982043"/>
            <a:ext cx="359245" cy="429377"/>
            <a:chOff x="8158164" y="1847851"/>
            <a:chExt cx="398462" cy="476250"/>
          </a:xfrm>
          <a:solidFill>
            <a:schemeClr val="lt1"/>
          </a:solidFill>
        </p:grpSpPr>
        <p:sp>
          <p:nvSpPr>
            <p:cNvPr id="30" name="Freeform 527">
              <a:extLst>
                <a:ext uri="{FF2B5EF4-FFF2-40B4-BE49-F238E27FC236}">
                  <a16:creationId xmlns:a16="http://schemas.microsoft.com/office/drawing/2014/main" id="{C47C394B-9A7B-E1DE-0AE2-3FDAD6C33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01" y="2117726"/>
              <a:ext cx="161925" cy="204788"/>
            </a:xfrm>
            <a:custGeom>
              <a:avLst/>
              <a:gdLst>
                <a:gd name="T0" fmla="*/ 202 w 202"/>
                <a:gd name="T1" fmla="*/ 255 h 255"/>
                <a:gd name="T2" fmla="*/ 185 w 202"/>
                <a:gd name="T3" fmla="*/ 255 h 255"/>
                <a:gd name="T4" fmla="*/ 185 w 202"/>
                <a:gd name="T5" fmla="*/ 170 h 255"/>
                <a:gd name="T6" fmla="*/ 127 w 202"/>
                <a:gd name="T7" fmla="*/ 104 h 255"/>
                <a:gd name="T8" fmla="*/ 51 w 202"/>
                <a:gd name="T9" fmla="*/ 81 h 255"/>
                <a:gd name="T10" fmla="*/ 25 w 202"/>
                <a:gd name="T11" fmla="*/ 67 h 255"/>
                <a:gd name="T12" fmla="*/ 0 w 202"/>
                <a:gd name="T13" fmla="*/ 12 h 255"/>
                <a:gd name="T14" fmla="*/ 0 w 202"/>
                <a:gd name="T15" fmla="*/ 0 h 255"/>
                <a:gd name="T16" fmla="*/ 16 w 202"/>
                <a:gd name="T17" fmla="*/ 0 h 255"/>
                <a:gd name="T18" fmla="*/ 16 w 202"/>
                <a:gd name="T19" fmla="*/ 12 h 255"/>
                <a:gd name="T20" fmla="*/ 36 w 202"/>
                <a:gd name="T21" fmla="*/ 55 h 255"/>
                <a:gd name="T22" fmla="*/ 56 w 202"/>
                <a:gd name="T23" fmla="*/ 65 h 255"/>
                <a:gd name="T24" fmla="*/ 131 w 202"/>
                <a:gd name="T25" fmla="*/ 88 h 255"/>
                <a:gd name="T26" fmla="*/ 202 w 202"/>
                <a:gd name="T27" fmla="*/ 168 h 255"/>
                <a:gd name="T28" fmla="*/ 202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202" y="255"/>
                  </a:moveTo>
                  <a:lnTo>
                    <a:pt x="185" y="255"/>
                  </a:lnTo>
                  <a:lnTo>
                    <a:pt x="185" y="170"/>
                  </a:lnTo>
                  <a:cubicBezTo>
                    <a:pt x="180" y="140"/>
                    <a:pt x="157" y="113"/>
                    <a:pt x="127" y="104"/>
                  </a:cubicBezTo>
                  <a:lnTo>
                    <a:pt x="51" y="81"/>
                  </a:lnTo>
                  <a:cubicBezTo>
                    <a:pt x="42" y="78"/>
                    <a:pt x="33" y="74"/>
                    <a:pt x="25" y="67"/>
                  </a:cubicBezTo>
                  <a:cubicBezTo>
                    <a:pt x="9" y="53"/>
                    <a:pt x="0" y="33"/>
                    <a:pt x="0" y="1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"/>
                  </a:lnTo>
                  <a:cubicBezTo>
                    <a:pt x="16" y="28"/>
                    <a:pt x="24" y="44"/>
                    <a:pt x="36" y="55"/>
                  </a:cubicBezTo>
                  <a:cubicBezTo>
                    <a:pt x="42" y="59"/>
                    <a:pt x="49" y="63"/>
                    <a:pt x="56" y="65"/>
                  </a:cubicBezTo>
                  <a:lnTo>
                    <a:pt x="131" y="88"/>
                  </a:lnTo>
                  <a:cubicBezTo>
                    <a:pt x="168" y="99"/>
                    <a:pt x="196" y="131"/>
                    <a:pt x="202" y="168"/>
                  </a:cubicBezTo>
                  <a:lnTo>
                    <a:pt x="202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528">
              <a:extLst>
                <a:ext uri="{FF2B5EF4-FFF2-40B4-BE49-F238E27FC236}">
                  <a16:creationId xmlns:a16="http://schemas.microsoft.com/office/drawing/2014/main" id="{3C816EBB-32FD-B739-4B2F-3AA9D1F3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64" y="2117726"/>
              <a:ext cx="161925" cy="204788"/>
            </a:xfrm>
            <a:custGeom>
              <a:avLst/>
              <a:gdLst>
                <a:gd name="T0" fmla="*/ 16 w 202"/>
                <a:gd name="T1" fmla="*/ 255 h 255"/>
                <a:gd name="T2" fmla="*/ 0 w 202"/>
                <a:gd name="T3" fmla="*/ 255 h 255"/>
                <a:gd name="T4" fmla="*/ 0 w 202"/>
                <a:gd name="T5" fmla="*/ 171 h 255"/>
                <a:gd name="T6" fmla="*/ 70 w 202"/>
                <a:gd name="T7" fmla="*/ 88 h 255"/>
                <a:gd name="T8" fmla="*/ 145 w 202"/>
                <a:gd name="T9" fmla="*/ 65 h 255"/>
                <a:gd name="T10" fmla="*/ 166 w 202"/>
                <a:gd name="T11" fmla="*/ 54 h 255"/>
                <a:gd name="T12" fmla="*/ 185 w 202"/>
                <a:gd name="T13" fmla="*/ 11 h 255"/>
                <a:gd name="T14" fmla="*/ 185 w 202"/>
                <a:gd name="T15" fmla="*/ 0 h 255"/>
                <a:gd name="T16" fmla="*/ 202 w 202"/>
                <a:gd name="T17" fmla="*/ 0 h 255"/>
                <a:gd name="T18" fmla="*/ 202 w 202"/>
                <a:gd name="T19" fmla="*/ 11 h 255"/>
                <a:gd name="T20" fmla="*/ 177 w 202"/>
                <a:gd name="T21" fmla="*/ 66 h 255"/>
                <a:gd name="T22" fmla="*/ 150 w 202"/>
                <a:gd name="T23" fmla="*/ 81 h 255"/>
                <a:gd name="T24" fmla="*/ 75 w 202"/>
                <a:gd name="T25" fmla="*/ 104 h 255"/>
                <a:gd name="T26" fmla="*/ 16 w 202"/>
                <a:gd name="T27" fmla="*/ 173 h 255"/>
                <a:gd name="T28" fmla="*/ 16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16" y="255"/>
                  </a:moveTo>
                  <a:lnTo>
                    <a:pt x="0" y="255"/>
                  </a:lnTo>
                  <a:lnTo>
                    <a:pt x="0" y="171"/>
                  </a:lnTo>
                  <a:cubicBezTo>
                    <a:pt x="5" y="132"/>
                    <a:pt x="33" y="99"/>
                    <a:pt x="70" y="88"/>
                  </a:cubicBezTo>
                  <a:lnTo>
                    <a:pt x="145" y="65"/>
                  </a:lnTo>
                  <a:cubicBezTo>
                    <a:pt x="153" y="63"/>
                    <a:pt x="160" y="59"/>
                    <a:pt x="166" y="54"/>
                  </a:cubicBezTo>
                  <a:cubicBezTo>
                    <a:pt x="178" y="43"/>
                    <a:pt x="185" y="28"/>
                    <a:pt x="185" y="11"/>
                  </a:cubicBezTo>
                  <a:lnTo>
                    <a:pt x="185" y="0"/>
                  </a:lnTo>
                  <a:lnTo>
                    <a:pt x="202" y="0"/>
                  </a:lnTo>
                  <a:lnTo>
                    <a:pt x="202" y="11"/>
                  </a:lnTo>
                  <a:cubicBezTo>
                    <a:pt x="202" y="32"/>
                    <a:pt x="193" y="52"/>
                    <a:pt x="177" y="66"/>
                  </a:cubicBezTo>
                  <a:cubicBezTo>
                    <a:pt x="169" y="73"/>
                    <a:pt x="160" y="78"/>
                    <a:pt x="150" y="81"/>
                  </a:cubicBezTo>
                  <a:lnTo>
                    <a:pt x="75" y="104"/>
                  </a:lnTo>
                  <a:cubicBezTo>
                    <a:pt x="44" y="113"/>
                    <a:pt x="21" y="140"/>
                    <a:pt x="16" y="173"/>
                  </a:cubicBezTo>
                  <a:lnTo>
                    <a:pt x="16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8" name="Freeform 529">
              <a:extLst>
                <a:ext uri="{FF2B5EF4-FFF2-40B4-BE49-F238E27FC236}">
                  <a16:creationId xmlns:a16="http://schemas.microsoft.com/office/drawing/2014/main" id="{293476E4-40D8-9A98-B3B8-E25F837A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1985963"/>
              <a:ext cx="165100" cy="158750"/>
            </a:xfrm>
            <a:custGeom>
              <a:avLst/>
              <a:gdLst>
                <a:gd name="T0" fmla="*/ 102 w 204"/>
                <a:gd name="T1" fmla="*/ 198 h 198"/>
                <a:gd name="T2" fmla="*/ 66 w 204"/>
                <a:gd name="T3" fmla="*/ 188 h 198"/>
                <a:gd name="T4" fmla="*/ 0 w 204"/>
                <a:gd name="T5" fmla="*/ 105 h 198"/>
                <a:gd name="T6" fmla="*/ 0 w 204"/>
                <a:gd name="T7" fmla="*/ 0 h 198"/>
                <a:gd name="T8" fmla="*/ 17 w 204"/>
                <a:gd name="T9" fmla="*/ 0 h 198"/>
                <a:gd name="T10" fmla="*/ 17 w 204"/>
                <a:gd name="T11" fmla="*/ 105 h 198"/>
                <a:gd name="T12" fmla="*/ 75 w 204"/>
                <a:gd name="T13" fmla="*/ 174 h 198"/>
                <a:gd name="T14" fmla="*/ 129 w 204"/>
                <a:gd name="T15" fmla="*/ 174 h 198"/>
                <a:gd name="T16" fmla="*/ 188 w 204"/>
                <a:gd name="T17" fmla="*/ 105 h 198"/>
                <a:gd name="T18" fmla="*/ 188 w 204"/>
                <a:gd name="T19" fmla="*/ 0 h 198"/>
                <a:gd name="T20" fmla="*/ 204 w 204"/>
                <a:gd name="T21" fmla="*/ 0 h 198"/>
                <a:gd name="T22" fmla="*/ 204 w 204"/>
                <a:gd name="T23" fmla="*/ 105 h 198"/>
                <a:gd name="T24" fmla="*/ 138 w 204"/>
                <a:gd name="T25" fmla="*/ 188 h 198"/>
                <a:gd name="T26" fmla="*/ 102 w 204"/>
                <a:gd name="T2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8">
                  <a:moveTo>
                    <a:pt x="102" y="198"/>
                  </a:moveTo>
                  <a:cubicBezTo>
                    <a:pt x="90" y="198"/>
                    <a:pt x="77" y="195"/>
                    <a:pt x="66" y="188"/>
                  </a:cubicBezTo>
                  <a:cubicBezTo>
                    <a:pt x="36" y="169"/>
                    <a:pt x="0" y="140"/>
                    <a:pt x="0" y="105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05"/>
                  </a:lnTo>
                  <a:cubicBezTo>
                    <a:pt x="17" y="133"/>
                    <a:pt x="53" y="160"/>
                    <a:pt x="75" y="174"/>
                  </a:cubicBezTo>
                  <a:cubicBezTo>
                    <a:pt x="92" y="184"/>
                    <a:pt x="113" y="184"/>
                    <a:pt x="129" y="174"/>
                  </a:cubicBezTo>
                  <a:cubicBezTo>
                    <a:pt x="151" y="160"/>
                    <a:pt x="188" y="133"/>
                    <a:pt x="188" y="105"/>
                  </a:cubicBezTo>
                  <a:lnTo>
                    <a:pt x="188" y="0"/>
                  </a:lnTo>
                  <a:lnTo>
                    <a:pt x="204" y="0"/>
                  </a:lnTo>
                  <a:lnTo>
                    <a:pt x="204" y="105"/>
                  </a:lnTo>
                  <a:cubicBezTo>
                    <a:pt x="204" y="140"/>
                    <a:pt x="168" y="169"/>
                    <a:pt x="138" y="188"/>
                  </a:cubicBezTo>
                  <a:cubicBezTo>
                    <a:pt x="127" y="195"/>
                    <a:pt x="115" y="198"/>
                    <a:pt x="10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9" name="Freeform 530">
              <a:extLst>
                <a:ext uri="{FF2B5EF4-FFF2-40B4-BE49-F238E27FC236}">
                  <a16:creationId xmlns:a16="http://schemas.microsoft.com/office/drawing/2014/main" id="{BB092DB8-B69B-9A25-9247-83DBCC31C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8651" y="1847851"/>
              <a:ext cx="217488" cy="144463"/>
            </a:xfrm>
            <a:custGeom>
              <a:avLst/>
              <a:gdLst>
                <a:gd name="T0" fmla="*/ 17 w 269"/>
                <a:gd name="T1" fmla="*/ 162 h 179"/>
                <a:gd name="T2" fmla="*/ 252 w 269"/>
                <a:gd name="T3" fmla="*/ 162 h 179"/>
                <a:gd name="T4" fmla="*/ 252 w 269"/>
                <a:gd name="T5" fmla="*/ 134 h 179"/>
                <a:gd name="T6" fmla="*/ 134 w 269"/>
                <a:gd name="T7" fmla="*/ 16 h 179"/>
                <a:gd name="T8" fmla="*/ 17 w 269"/>
                <a:gd name="T9" fmla="*/ 134 h 179"/>
                <a:gd name="T10" fmla="*/ 17 w 269"/>
                <a:gd name="T11" fmla="*/ 162 h 179"/>
                <a:gd name="T12" fmla="*/ 269 w 269"/>
                <a:gd name="T13" fmla="*/ 179 h 179"/>
                <a:gd name="T14" fmla="*/ 0 w 269"/>
                <a:gd name="T15" fmla="*/ 179 h 179"/>
                <a:gd name="T16" fmla="*/ 0 w 269"/>
                <a:gd name="T17" fmla="*/ 134 h 179"/>
                <a:gd name="T18" fmla="*/ 134 w 269"/>
                <a:gd name="T19" fmla="*/ 0 h 179"/>
                <a:gd name="T20" fmla="*/ 269 w 269"/>
                <a:gd name="T21" fmla="*/ 134 h 179"/>
                <a:gd name="T22" fmla="*/ 269 w 269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179">
                  <a:moveTo>
                    <a:pt x="17" y="162"/>
                  </a:moveTo>
                  <a:lnTo>
                    <a:pt x="252" y="162"/>
                  </a:lnTo>
                  <a:lnTo>
                    <a:pt x="252" y="134"/>
                  </a:lnTo>
                  <a:cubicBezTo>
                    <a:pt x="252" y="69"/>
                    <a:pt x="199" y="16"/>
                    <a:pt x="134" y="16"/>
                  </a:cubicBezTo>
                  <a:cubicBezTo>
                    <a:pt x="69" y="16"/>
                    <a:pt x="17" y="69"/>
                    <a:pt x="17" y="134"/>
                  </a:cubicBezTo>
                  <a:lnTo>
                    <a:pt x="17" y="162"/>
                  </a:lnTo>
                  <a:close/>
                  <a:moveTo>
                    <a:pt x="269" y="179"/>
                  </a:moveTo>
                  <a:lnTo>
                    <a:pt x="0" y="179"/>
                  </a:lnTo>
                  <a:lnTo>
                    <a:pt x="0" y="134"/>
                  </a:lnTo>
                  <a:cubicBezTo>
                    <a:pt x="0" y="60"/>
                    <a:pt x="60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lnTo>
                    <a:pt x="269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0" name="Rectangle 531">
              <a:extLst>
                <a:ext uri="{FF2B5EF4-FFF2-40B4-BE49-F238E27FC236}">
                  <a16:creationId xmlns:a16="http://schemas.microsoft.com/office/drawing/2014/main" id="{FCD74E17-807F-9E13-F7D6-4F8D12DA7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7539" y="1978026"/>
              <a:ext cx="236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2" name="Freeform 532">
              <a:extLst>
                <a:ext uri="{FF2B5EF4-FFF2-40B4-BE49-F238E27FC236}">
                  <a16:creationId xmlns:a16="http://schemas.microsoft.com/office/drawing/2014/main" id="{9F1B0D63-FCFD-9820-AC31-357FE740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4" y="1854201"/>
              <a:ext cx="42863" cy="71438"/>
            </a:xfrm>
            <a:custGeom>
              <a:avLst/>
              <a:gdLst>
                <a:gd name="T0" fmla="*/ 27 w 27"/>
                <a:gd name="T1" fmla="*/ 45 h 45"/>
                <a:gd name="T2" fmla="*/ 0 w 27"/>
                <a:gd name="T3" fmla="*/ 45 h 45"/>
                <a:gd name="T4" fmla="*/ 0 w 27"/>
                <a:gd name="T5" fmla="*/ 0 h 45"/>
                <a:gd name="T6" fmla="*/ 8 w 27"/>
                <a:gd name="T7" fmla="*/ 0 h 45"/>
                <a:gd name="T8" fmla="*/ 8 w 27"/>
                <a:gd name="T9" fmla="*/ 37 h 45"/>
                <a:gd name="T10" fmla="*/ 18 w 27"/>
                <a:gd name="T11" fmla="*/ 37 h 45"/>
                <a:gd name="T12" fmla="*/ 18 w 27"/>
                <a:gd name="T13" fmla="*/ 0 h 45"/>
                <a:gd name="T14" fmla="*/ 27 w 27"/>
                <a:gd name="T15" fmla="*/ 0 h 45"/>
                <a:gd name="T16" fmla="*/ 27 w 2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5">
                  <a:moveTo>
                    <a:pt x="27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7"/>
                  </a:lnTo>
                  <a:lnTo>
                    <a:pt x="18" y="37"/>
                  </a:lnTo>
                  <a:lnTo>
                    <a:pt x="18" y="0"/>
                  </a:lnTo>
                  <a:lnTo>
                    <a:pt x="27" y="0"/>
                  </a:lnTo>
                  <a:lnTo>
                    <a:pt x="2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3" name="Rectangle 533">
              <a:extLst>
                <a:ext uri="{FF2B5EF4-FFF2-40B4-BE49-F238E27FC236}">
                  <a16:creationId xmlns:a16="http://schemas.microsoft.com/office/drawing/2014/main" id="{C938245E-EC7F-BCEE-F4EB-C1EBA08B4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6901" y="2192338"/>
              <a:ext cx="14288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4" name="Freeform 534">
              <a:extLst>
                <a:ext uri="{FF2B5EF4-FFF2-40B4-BE49-F238E27FC236}">
                  <a16:creationId xmlns:a16="http://schemas.microsoft.com/office/drawing/2014/main" id="{51097A89-A32D-8E0A-BC52-293FFD3F2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6" y="2179638"/>
              <a:ext cx="211138" cy="93663"/>
            </a:xfrm>
            <a:custGeom>
              <a:avLst/>
              <a:gdLst>
                <a:gd name="T0" fmla="*/ 115 w 133"/>
                <a:gd name="T1" fmla="*/ 59 h 59"/>
                <a:gd name="T2" fmla="*/ 18 w 133"/>
                <a:gd name="T3" fmla="*/ 59 h 59"/>
                <a:gd name="T4" fmla="*/ 0 w 133"/>
                <a:gd name="T5" fmla="*/ 3 h 59"/>
                <a:gd name="T6" fmla="*/ 7 w 133"/>
                <a:gd name="T7" fmla="*/ 0 h 59"/>
                <a:gd name="T8" fmla="*/ 24 w 133"/>
                <a:gd name="T9" fmla="*/ 50 h 59"/>
                <a:gd name="T10" fmla="*/ 109 w 133"/>
                <a:gd name="T11" fmla="*/ 50 h 59"/>
                <a:gd name="T12" fmla="*/ 125 w 133"/>
                <a:gd name="T13" fmla="*/ 0 h 59"/>
                <a:gd name="T14" fmla="*/ 133 w 133"/>
                <a:gd name="T15" fmla="*/ 3 h 59"/>
                <a:gd name="T16" fmla="*/ 115 w 133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59">
                  <a:moveTo>
                    <a:pt x="115" y="59"/>
                  </a:moveTo>
                  <a:lnTo>
                    <a:pt x="18" y="5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50"/>
                  </a:lnTo>
                  <a:lnTo>
                    <a:pt x="109" y="50"/>
                  </a:lnTo>
                  <a:lnTo>
                    <a:pt x="125" y="0"/>
                  </a:lnTo>
                  <a:lnTo>
                    <a:pt x="133" y="3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5" name="Rectangle 535">
              <a:extLst>
                <a:ext uri="{FF2B5EF4-FFF2-40B4-BE49-F238E27FC236}">
                  <a16:creationId xmlns:a16="http://schemas.microsoft.com/office/drawing/2014/main" id="{BE37B4B4-9834-0694-B549-E1FB5E7B5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1" y="2192338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6" name="Freeform 536">
              <a:extLst>
                <a:ext uri="{FF2B5EF4-FFF2-40B4-BE49-F238E27FC236}">
                  <a16:creationId xmlns:a16="http://schemas.microsoft.com/office/drawing/2014/main" id="{C9A295F6-FADD-508F-20DC-BD727991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9" y="2159001"/>
              <a:ext cx="125413" cy="57150"/>
            </a:xfrm>
            <a:custGeom>
              <a:avLst/>
              <a:gdLst>
                <a:gd name="T0" fmla="*/ 78 w 156"/>
                <a:gd name="T1" fmla="*/ 70 h 70"/>
                <a:gd name="T2" fmla="*/ 0 w 156"/>
                <a:gd name="T3" fmla="*/ 0 h 70"/>
                <a:gd name="T4" fmla="*/ 17 w 156"/>
                <a:gd name="T5" fmla="*/ 0 h 70"/>
                <a:gd name="T6" fmla="*/ 78 w 156"/>
                <a:gd name="T7" fmla="*/ 54 h 70"/>
                <a:gd name="T8" fmla="*/ 140 w 156"/>
                <a:gd name="T9" fmla="*/ 0 h 70"/>
                <a:gd name="T10" fmla="*/ 156 w 156"/>
                <a:gd name="T11" fmla="*/ 0 h 70"/>
                <a:gd name="T12" fmla="*/ 78 w 156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0">
                  <a:moveTo>
                    <a:pt x="78" y="70"/>
                  </a:moveTo>
                  <a:cubicBezTo>
                    <a:pt x="35" y="70"/>
                    <a:pt x="0" y="39"/>
                    <a:pt x="0" y="0"/>
                  </a:cubicBezTo>
                  <a:lnTo>
                    <a:pt x="17" y="0"/>
                  </a:lnTo>
                  <a:cubicBezTo>
                    <a:pt x="17" y="30"/>
                    <a:pt x="45" y="54"/>
                    <a:pt x="78" y="54"/>
                  </a:cubicBezTo>
                  <a:cubicBezTo>
                    <a:pt x="112" y="54"/>
                    <a:pt x="140" y="30"/>
                    <a:pt x="140" y="0"/>
                  </a:cubicBezTo>
                  <a:lnTo>
                    <a:pt x="156" y="0"/>
                  </a:lnTo>
                  <a:cubicBezTo>
                    <a:pt x="156" y="39"/>
                    <a:pt x="121" y="70"/>
                    <a:pt x="7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7" name="Freeform 537">
              <a:extLst>
                <a:ext uri="{FF2B5EF4-FFF2-40B4-BE49-F238E27FC236}">
                  <a16:creationId xmlns:a16="http://schemas.microsoft.com/office/drawing/2014/main" id="{D2C23759-2BA8-B1D4-5EC3-2EA32A33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9" y="1892301"/>
              <a:ext cx="33338" cy="73025"/>
            </a:xfrm>
            <a:custGeom>
              <a:avLst/>
              <a:gdLst>
                <a:gd name="T0" fmla="*/ 40 w 41"/>
                <a:gd name="T1" fmla="*/ 89 h 89"/>
                <a:gd name="T2" fmla="*/ 24 w 41"/>
                <a:gd name="T3" fmla="*/ 88 h 89"/>
                <a:gd name="T4" fmla="*/ 0 w 41"/>
                <a:gd name="T5" fmla="*/ 11 h 89"/>
                <a:gd name="T6" fmla="*/ 12 w 41"/>
                <a:gd name="T7" fmla="*/ 0 h 89"/>
                <a:gd name="T8" fmla="*/ 40 w 41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9">
                  <a:moveTo>
                    <a:pt x="40" y="89"/>
                  </a:moveTo>
                  <a:lnTo>
                    <a:pt x="24" y="88"/>
                  </a:lnTo>
                  <a:cubicBezTo>
                    <a:pt x="24" y="63"/>
                    <a:pt x="16" y="27"/>
                    <a:pt x="0" y="11"/>
                  </a:cubicBezTo>
                  <a:lnTo>
                    <a:pt x="12" y="0"/>
                  </a:lnTo>
                  <a:cubicBezTo>
                    <a:pt x="33" y="20"/>
                    <a:pt x="41" y="64"/>
                    <a:pt x="4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8" name="Freeform 538">
              <a:extLst>
                <a:ext uri="{FF2B5EF4-FFF2-40B4-BE49-F238E27FC236}">
                  <a16:creationId xmlns:a16="http://schemas.microsoft.com/office/drawing/2014/main" id="{57192022-26F4-B19C-71D4-C0559CD0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3751" y="1892301"/>
              <a:ext cx="31750" cy="73025"/>
            </a:xfrm>
            <a:custGeom>
              <a:avLst/>
              <a:gdLst>
                <a:gd name="T0" fmla="*/ 0 w 40"/>
                <a:gd name="T1" fmla="*/ 89 h 89"/>
                <a:gd name="T2" fmla="*/ 29 w 40"/>
                <a:gd name="T3" fmla="*/ 0 h 89"/>
                <a:gd name="T4" fmla="*/ 40 w 40"/>
                <a:gd name="T5" fmla="*/ 11 h 89"/>
                <a:gd name="T6" fmla="*/ 17 w 40"/>
                <a:gd name="T7" fmla="*/ 88 h 89"/>
                <a:gd name="T8" fmla="*/ 0 w 40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9">
                  <a:moveTo>
                    <a:pt x="0" y="89"/>
                  </a:moveTo>
                  <a:cubicBezTo>
                    <a:pt x="0" y="64"/>
                    <a:pt x="8" y="20"/>
                    <a:pt x="29" y="0"/>
                  </a:cubicBezTo>
                  <a:lnTo>
                    <a:pt x="40" y="11"/>
                  </a:lnTo>
                  <a:cubicBezTo>
                    <a:pt x="25" y="26"/>
                    <a:pt x="16" y="63"/>
                    <a:pt x="17" y="88"/>
                  </a:cubicBezTo>
                  <a:lnTo>
                    <a:pt x="0" y="8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9" name="Freeform 539">
              <a:extLst>
                <a:ext uri="{FF2B5EF4-FFF2-40B4-BE49-F238E27FC236}">
                  <a16:creationId xmlns:a16="http://schemas.microsoft.com/office/drawing/2014/main" id="{FADBF14F-16E8-E580-AA34-8C72B53CF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4" y="2259013"/>
              <a:ext cx="204788" cy="65088"/>
            </a:xfrm>
            <a:custGeom>
              <a:avLst/>
              <a:gdLst>
                <a:gd name="T0" fmla="*/ 129 w 129"/>
                <a:gd name="T1" fmla="*/ 41 h 41"/>
                <a:gd name="T2" fmla="*/ 121 w 129"/>
                <a:gd name="T3" fmla="*/ 41 h 41"/>
                <a:gd name="T4" fmla="*/ 121 w 129"/>
                <a:gd name="T5" fmla="*/ 9 h 41"/>
                <a:gd name="T6" fmla="*/ 8 w 129"/>
                <a:gd name="T7" fmla="*/ 9 h 41"/>
                <a:gd name="T8" fmla="*/ 8 w 129"/>
                <a:gd name="T9" fmla="*/ 41 h 41"/>
                <a:gd name="T10" fmla="*/ 0 w 129"/>
                <a:gd name="T11" fmla="*/ 41 h 41"/>
                <a:gd name="T12" fmla="*/ 0 w 129"/>
                <a:gd name="T13" fmla="*/ 0 h 41"/>
                <a:gd name="T14" fmla="*/ 129 w 129"/>
                <a:gd name="T15" fmla="*/ 0 h 41"/>
                <a:gd name="T16" fmla="*/ 129 w 129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41">
                  <a:moveTo>
                    <a:pt x="129" y="41"/>
                  </a:moveTo>
                  <a:lnTo>
                    <a:pt x="121" y="41"/>
                  </a:lnTo>
                  <a:lnTo>
                    <a:pt x="121" y="9"/>
                  </a:lnTo>
                  <a:lnTo>
                    <a:pt x="8" y="9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12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40" name="Contamin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AA2A1F-A1BA-1488-412E-1D83EEB6D7DE}"/>
              </a:ext>
            </a:extLst>
          </p:cNvPr>
          <p:cNvGrpSpPr>
            <a:grpSpLocks noChangeAspect="1"/>
          </p:cNvGrpSpPr>
          <p:nvPr/>
        </p:nvGrpSpPr>
        <p:grpSpPr>
          <a:xfrm>
            <a:off x="6538271" y="4899409"/>
            <a:ext cx="433182" cy="429377"/>
            <a:chOff x="4278313" y="254000"/>
            <a:chExt cx="903288" cy="895351"/>
          </a:xfrm>
        </p:grpSpPr>
        <p:sp>
          <p:nvSpPr>
            <p:cNvPr id="22541" name="Freeform 88">
              <a:extLst>
                <a:ext uri="{FF2B5EF4-FFF2-40B4-BE49-F238E27FC236}">
                  <a16:creationId xmlns:a16="http://schemas.microsoft.com/office/drawing/2014/main" id="{917A7606-D422-A629-1335-C3688068C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665163"/>
              <a:ext cx="477838" cy="484188"/>
            </a:xfrm>
            <a:custGeom>
              <a:avLst/>
              <a:gdLst>
                <a:gd name="T0" fmla="*/ 149 w 636"/>
                <a:gd name="T1" fmla="*/ 604 h 643"/>
                <a:gd name="T2" fmla="*/ 268 w 636"/>
                <a:gd name="T3" fmla="*/ 464 h 643"/>
                <a:gd name="T4" fmla="*/ 389 w 636"/>
                <a:gd name="T5" fmla="*/ 496 h 643"/>
                <a:gd name="T6" fmla="*/ 636 w 636"/>
                <a:gd name="T7" fmla="*/ 247 h 643"/>
                <a:gd name="T8" fmla="*/ 622 w 636"/>
                <a:gd name="T9" fmla="*/ 167 h 643"/>
                <a:gd name="T10" fmla="*/ 387 w 636"/>
                <a:gd name="T11" fmla="*/ 0 h 643"/>
                <a:gd name="T12" fmla="*/ 140 w 636"/>
                <a:gd name="T13" fmla="*/ 249 h 643"/>
                <a:gd name="T14" fmla="*/ 154 w 636"/>
                <a:gd name="T15" fmla="*/ 329 h 643"/>
                <a:gd name="T16" fmla="*/ 173 w 636"/>
                <a:gd name="T17" fmla="*/ 370 h 643"/>
                <a:gd name="T18" fmla="*/ 34 w 636"/>
                <a:gd name="T19" fmla="*/ 491 h 643"/>
                <a:gd name="T20" fmla="*/ 10 w 636"/>
                <a:gd name="T21" fmla="*/ 577 h 643"/>
                <a:gd name="T22" fmla="*/ 31 w 636"/>
                <a:gd name="T23" fmla="*/ 609 h 643"/>
                <a:gd name="T24" fmla="*/ 149 w 636"/>
                <a:gd name="T25" fmla="*/ 604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643">
                  <a:moveTo>
                    <a:pt x="149" y="604"/>
                  </a:moveTo>
                  <a:lnTo>
                    <a:pt x="268" y="464"/>
                  </a:lnTo>
                  <a:cubicBezTo>
                    <a:pt x="304" y="484"/>
                    <a:pt x="345" y="496"/>
                    <a:pt x="389" y="496"/>
                  </a:cubicBezTo>
                  <a:cubicBezTo>
                    <a:pt x="526" y="495"/>
                    <a:pt x="636" y="384"/>
                    <a:pt x="636" y="247"/>
                  </a:cubicBezTo>
                  <a:cubicBezTo>
                    <a:pt x="636" y="219"/>
                    <a:pt x="631" y="192"/>
                    <a:pt x="622" y="167"/>
                  </a:cubicBezTo>
                  <a:cubicBezTo>
                    <a:pt x="588" y="70"/>
                    <a:pt x="496" y="0"/>
                    <a:pt x="387" y="0"/>
                  </a:cubicBezTo>
                  <a:cubicBezTo>
                    <a:pt x="251" y="1"/>
                    <a:pt x="140" y="112"/>
                    <a:pt x="140" y="249"/>
                  </a:cubicBezTo>
                  <a:cubicBezTo>
                    <a:pt x="141" y="277"/>
                    <a:pt x="145" y="304"/>
                    <a:pt x="154" y="329"/>
                  </a:cubicBezTo>
                  <a:cubicBezTo>
                    <a:pt x="159" y="343"/>
                    <a:pt x="165" y="357"/>
                    <a:pt x="173" y="370"/>
                  </a:cubicBezTo>
                  <a:lnTo>
                    <a:pt x="34" y="491"/>
                  </a:lnTo>
                  <a:cubicBezTo>
                    <a:pt x="8" y="514"/>
                    <a:pt x="0" y="547"/>
                    <a:pt x="10" y="577"/>
                  </a:cubicBezTo>
                  <a:cubicBezTo>
                    <a:pt x="14" y="588"/>
                    <a:pt x="21" y="599"/>
                    <a:pt x="31" y="609"/>
                  </a:cubicBezTo>
                  <a:cubicBezTo>
                    <a:pt x="63" y="641"/>
                    <a:pt x="116" y="643"/>
                    <a:pt x="149" y="604"/>
                  </a:cubicBezTo>
                  <a:close/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2" name="Oval 89">
              <a:extLst>
                <a:ext uri="{FF2B5EF4-FFF2-40B4-BE49-F238E27FC236}">
                  <a16:creationId xmlns:a16="http://schemas.microsoft.com/office/drawing/2014/main" id="{3290D548-5D24-FE83-F7C9-5B003450B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13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3" name="Freeform 90">
              <a:extLst>
                <a:ext uri="{FF2B5EF4-FFF2-40B4-BE49-F238E27FC236}">
                  <a16:creationId xmlns:a16="http://schemas.microsoft.com/office/drawing/2014/main" id="{F1A8FC83-A2D5-8ED6-E94E-A4602EEE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050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4" name="Oval 91">
              <a:extLst>
                <a:ext uri="{FF2B5EF4-FFF2-40B4-BE49-F238E27FC236}">
                  <a16:creationId xmlns:a16="http://schemas.microsoft.com/office/drawing/2014/main" id="{3A3461D9-2CA8-36AE-91E6-5CFC6DF85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9675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5" name="Freeform 92">
              <a:extLst>
                <a:ext uri="{FF2B5EF4-FFF2-40B4-BE49-F238E27FC236}">
                  <a16:creationId xmlns:a16="http://schemas.microsoft.com/office/drawing/2014/main" id="{1080861E-5843-B873-9459-6713B7223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6" name="Oval 93">
              <a:extLst>
                <a:ext uri="{FF2B5EF4-FFF2-40B4-BE49-F238E27FC236}">
                  <a16:creationId xmlns:a16="http://schemas.microsoft.com/office/drawing/2014/main" id="{42C31F1A-94D6-088F-DDF9-299CE60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088" y="719138"/>
              <a:ext cx="117475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7" name="Freeform 94">
              <a:extLst>
                <a:ext uri="{FF2B5EF4-FFF2-40B4-BE49-F238E27FC236}">
                  <a16:creationId xmlns:a16="http://schemas.microsoft.com/office/drawing/2014/main" id="{C374B31A-6A89-0E8B-5596-9AC9C407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582613"/>
              <a:ext cx="71438" cy="93663"/>
            </a:xfrm>
            <a:custGeom>
              <a:avLst/>
              <a:gdLst>
                <a:gd name="T0" fmla="*/ 95 w 95"/>
                <a:gd name="T1" fmla="*/ 0 h 125"/>
                <a:gd name="T2" fmla="*/ 0 w 95"/>
                <a:gd name="T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125">
                  <a:moveTo>
                    <a:pt x="95" y="0"/>
                  </a:moveTo>
                  <a:cubicBezTo>
                    <a:pt x="95" y="60"/>
                    <a:pt x="55" y="110"/>
                    <a:pt x="0" y="125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8" name="Freeform 95">
              <a:extLst>
                <a:ext uri="{FF2B5EF4-FFF2-40B4-BE49-F238E27FC236}">
                  <a16:creationId xmlns:a16="http://schemas.microsoft.com/office/drawing/2014/main" id="{D76BBCB8-3217-08A8-7384-68B436022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88" y="582613"/>
              <a:ext cx="98425" cy="96838"/>
            </a:xfrm>
            <a:custGeom>
              <a:avLst/>
              <a:gdLst>
                <a:gd name="T0" fmla="*/ 0 w 130"/>
                <a:gd name="T1" fmla="*/ 0 h 130"/>
                <a:gd name="T2" fmla="*/ 130 w 130"/>
                <a:gd name="T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0" h="130">
                  <a:moveTo>
                    <a:pt x="0" y="0"/>
                  </a:moveTo>
                  <a:cubicBezTo>
                    <a:pt x="0" y="72"/>
                    <a:pt x="58" y="130"/>
                    <a:pt x="130" y="130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9" name="Line 96">
              <a:extLst>
                <a:ext uri="{FF2B5EF4-FFF2-40B4-BE49-F238E27FC236}">
                  <a16:creationId xmlns:a16="http://schemas.microsoft.com/office/drawing/2014/main" id="{1E0EAE6E-AF13-D57B-A41F-BCB592AB2E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25" y="582613"/>
              <a:ext cx="0" cy="82550"/>
            </a:xfrm>
            <a:prstGeom prst="lin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0" name="Oval 97">
              <a:extLst>
                <a:ext uri="{FF2B5EF4-FFF2-40B4-BE49-F238E27FC236}">
                  <a16:creationId xmlns:a16="http://schemas.microsoft.com/office/drawing/2014/main" id="{D94EA36B-20E0-28B5-8BDE-D3601CECA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54000"/>
              <a:ext cx="130175" cy="130175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1" name="Freeform 98">
              <a:extLst>
                <a:ext uri="{FF2B5EF4-FFF2-40B4-BE49-F238E27FC236}">
                  <a16:creationId xmlns:a16="http://schemas.microsoft.com/office/drawing/2014/main" id="{48DAC6DE-A298-0D45-7E7D-ACCC81C5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423863"/>
              <a:ext cx="225425" cy="109538"/>
            </a:xfrm>
            <a:custGeom>
              <a:avLst/>
              <a:gdLst>
                <a:gd name="T0" fmla="*/ 300 w 300"/>
                <a:gd name="T1" fmla="*/ 146 h 146"/>
                <a:gd name="T2" fmla="*/ 300 w 300"/>
                <a:gd name="T3" fmla="*/ 110 h 146"/>
                <a:gd name="T4" fmla="*/ 150 w 300"/>
                <a:gd name="T5" fmla="*/ 0 h 146"/>
                <a:gd name="T6" fmla="*/ 0 w 300"/>
                <a:gd name="T7" fmla="*/ 110 h 146"/>
                <a:gd name="T8" fmla="*/ 0 w 300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46">
                  <a:moveTo>
                    <a:pt x="300" y="146"/>
                  </a:moveTo>
                  <a:lnTo>
                    <a:pt x="300" y="110"/>
                  </a:lnTo>
                  <a:cubicBezTo>
                    <a:pt x="300" y="40"/>
                    <a:pt x="233" y="0"/>
                    <a:pt x="150" y="0"/>
                  </a:cubicBezTo>
                  <a:cubicBezTo>
                    <a:pt x="67" y="0"/>
                    <a:pt x="0" y="40"/>
                    <a:pt x="0" y="110"/>
                  </a:cubicBezTo>
                  <a:lnTo>
                    <a:pt x="0" y="146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2" name="Freeform 99">
              <a:extLst>
                <a:ext uri="{FF2B5EF4-FFF2-40B4-BE49-F238E27FC236}">
                  <a16:creationId xmlns:a16="http://schemas.microsoft.com/office/drawing/2014/main" id="{3E54C03A-5CEE-7CE1-535E-3DF6701D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874713"/>
              <a:ext cx="173038" cy="96838"/>
            </a:xfrm>
            <a:custGeom>
              <a:avLst/>
              <a:gdLst>
                <a:gd name="T0" fmla="*/ 231 w 231"/>
                <a:gd name="T1" fmla="*/ 129 h 129"/>
                <a:gd name="T2" fmla="*/ 231 w 231"/>
                <a:gd name="T3" fmla="*/ 100 h 129"/>
                <a:gd name="T4" fmla="*/ 95 w 231"/>
                <a:gd name="T5" fmla="*/ 0 h 129"/>
                <a:gd name="T6" fmla="*/ 0 w 231"/>
                <a:gd name="T7" fmla="*/ 2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9">
                  <a:moveTo>
                    <a:pt x="231" y="129"/>
                  </a:moveTo>
                  <a:lnTo>
                    <a:pt x="231" y="100"/>
                  </a:lnTo>
                  <a:cubicBezTo>
                    <a:pt x="231" y="36"/>
                    <a:pt x="170" y="0"/>
                    <a:pt x="95" y="0"/>
                  </a:cubicBezTo>
                  <a:cubicBezTo>
                    <a:pt x="58" y="0"/>
                    <a:pt x="24" y="9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2553" name="Rectangle 90">
            <a:extLst>
              <a:ext uri="{FF2B5EF4-FFF2-40B4-BE49-F238E27FC236}">
                <a16:creationId xmlns:a16="http://schemas.microsoft.com/office/drawing/2014/main" id="{2A93375F-6DE9-B284-142C-FED393BFEA9A}"/>
              </a:ext>
            </a:extLst>
          </p:cNvPr>
          <p:cNvSpPr>
            <a:spLocks noChangeAspect="1"/>
          </p:cNvSpPr>
          <p:nvPr/>
        </p:nvSpPr>
        <p:spPr>
          <a:xfrm>
            <a:off x="5810776" y="201174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4" name="Rectangle 91">
            <a:extLst>
              <a:ext uri="{FF2B5EF4-FFF2-40B4-BE49-F238E27FC236}">
                <a16:creationId xmlns:a16="http://schemas.microsoft.com/office/drawing/2014/main" id="{7240F90D-B087-761D-522D-5EB171A23897}"/>
              </a:ext>
            </a:extLst>
          </p:cNvPr>
          <p:cNvSpPr>
            <a:spLocks noChangeAspect="1"/>
          </p:cNvSpPr>
          <p:nvPr/>
        </p:nvSpPr>
        <p:spPr>
          <a:xfrm>
            <a:off x="7229104" y="240996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5" name="Rectangle 92">
            <a:extLst>
              <a:ext uri="{FF2B5EF4-FFF2-40B4-BE49-F238E27FC236}">
                <a16:creationId xmlns:a16="http://schemas.microsoft.com/office/drawing/2014/main" id="{CAB08412-D5D9-3521-EA8D-C6B88A1D1DD6}"/>
              </a:ext>
            </a:extLst>
          </p:cNvPr>
          <p:cNvSpPr>
            <a:spLocks noChangeAspect="1"/>
          </p:cNvSpPr>
          <p:nvPr/>
        </p:nvSpPr>
        <p:spPr>
          <a:xfrm>
            <a:off x="7571536" y="3875684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524078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7" name="Rectangle : coins arrondis 10">
            <a:extLst>
              <a:ext uri="{FF2B5EF4-FFF2-40B4-BE49-F238E27FC236}">
                <a16:creationId xmlns:a16="http://schemas.microsoft.com/office/drawing/2014/main" id="{8FDABD18-DDF6-8E56-2626-52FAFE5C4142}"/>
              </a:ext>
            </a:extLst>
          </p:cNvPr>
          <p:cNvSpPr/>
          <p:nvPr/>
        </p:nvSpPr>
        <p:spPr>
          <a:xfrm rot="10800000" flipV="1">
            <a:off x="4161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É também um diagrama de objetos (camadas) que mostra o envio de mensagens entre eles.</a:t>
            </a:r>
          </a:p>
        </p:txBody>
      </p:sp>
      <p:sp>
        <p:nvSpPr>
          <p:cNvPr id="8" name="Rectangle : avec coins arrondis en haut 12">
            <a:extLst>
              <a:ext uri="{FF2B5EF4-FFF2-40B4-BE49-F238E27FC236}">
                <a16:creationId xmlns:a16="http://schemas.microsoft.com/office/drawing/2014/main" id="{3FA166F2-6C0B-F150-77B2-7D98032DEFF6}"/>
              </a:ext>
            </a:extLst>
          </p:cNvPr>
          <p:cNvSpPr/>
          <p:nvPr/>
        </p:nvSpPr>
        <p:spPr>
          <a:xfrm rot="10800000" flipH="1" flipV="1">
            <a:off x="4161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9513577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7" name="Rectangle : coins arrondis 10">
            <a:extLst>
              <a:ext uri="{FF2B5EF4-FFF2-40B4-BE49-F238E27FC236}">
                <a16:creationId xmlns:a16="http://schemas.microsoft.com/office/drawing/2014/main" id="{8FDABD18-DDF6-8E56-2626-52FAFE5C4142}"/>
              </a:ext>
            </a:extLst>
          </p:cNvPr>
          <p:cNvSpPr/>
          <p:nvPr/>
        </p:nvSpPr>
        <p:spPr>
          <a:xfrm rot="10800000" flipV="1">
            <a:off x="4161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É também um diagrama de objetos (camadas) que mostra o envio de mensagens entre eles.</a:t>
            </a:r>
          </a:p>
        </p:txBody>
      </p:sp>
      <p:sp>
        <p:nvSpPr>
          <p:cNvPr id="8" name="Rectangle : avec coins arrondis en haut 12">
            <a:extLst>
              <a:ext uri="{FF2B5EF4-FFF2-40B4-BE49-F238E27FC236}">
                <a16:creationId xmlns:a16="http://schemas.microsoft.com/office/drawing/2014/main" id="{3FA166F2-6C0B-F150-77B2-7D98032DEFF6}"/>
              </a:ext>
            </a:extLst>
          </p:cNvPr>
          <p:cNvSpPr/>
          <p:nvPr/>
        </p:nvSpPr>
        <p:spPr>
          <a:xfrm rot="10800000" flipH="1" flipV="1">
            <a:off x="4161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 : coins arrondis 22">
            <a:extLst>
              <a:ext uri="{FF2B5EF4-FFF2-40B4-BE49-F238E27FC236}">
                <a16:creationId xmlns:a16="http://schemas.microsoft.com/office/drawing/2014/main" id="{77A51F49-2A83-4DC4-2316-04B0D0511ED6}"/>
              </a:ext>
            </a:extLst>
          </p:cNvPr>
          <p:cNvSpPr/>
          <p:nvPr/>
        </p:nvSpPr>
        <p:spPr>
          <a:xfrm rot="10800000" flipV="1">
            <a:off x="253069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Descrevem ao longo de uma linha de tempo a sequência de comunicações entre objetos. </a:t>
            </a:r>
          </a:p>
        </p:txBody>
      </p:sp>
      <p:sp>
        <p:nvSpPr>
          <p:cNvPr id="10" name="Rectangle : avec coins arrondis en haut 23">
            <a:extLst>
              <a:ext uri="{FF2B5EF4-FFF2-40B4-BE49-F238E27FC236}">
                <a16:creationId xmlns:a16="http://schemas.microsoft.com/office/drawing/2014/main" id="{C3F084EF-4841-F482-22C6-A94CC4F4B665}"/>
              </a:ext>
            </a:extLst>
          </p:cNvPr>
          <p:cNvSpPr/>
          <p:nvPr/>
        </p:nvSpPr>
        <p:spPr>
          <a:xfrm rot="10800000" flipH="1" flipV="1">
            <a:off x="253070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9623115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7" name="Rectangle : coins arrondis 10">
            <a:extLst>
              <a:ext uri="{FF2B5EF4-FFF2-40B4-BE49-F238E27FC236}">
                <a16:creationId xmlns:a16="http://schemas.microsoft.com/office/drawing/2014/main" id="{8FDABD18-DDF6-8E56-2626-52FAFE5C4142}"/>
              </a:ext>
            </a:extLst>
          </p:cNvPr>
          <p:cNvSpPr/>
          <p:nvPr/>
        </p:nvSpPr>
        <p:spPr>
          <a:xfrm rot="10800000" flipV="1">
            <a:off x="4161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É também um diagrama de objetos (camadas) que mostra o envio de mensagens entre eles.</a:t>
            </a:r>
          </a:p>
        </p:txBody>
      </p:sp>
      <p:sp>
        <p:nvSpPr>
          <p:cNvPr id="8" name="Rectangle : avec coins arrondis en haut 12">
            <a:extLst>
              <a:ext uri="{FF2B5EF4-FFF2-40B4-BE49-F238E27FC236}">
                <a16:creationId xmlns:a16="http://schemas.microsoft.com/office/drawing/2014/main" id="{3FA166F2-6C0B-F150-77B2-7D98032DEFF6}"/>
              </a:ext>
            </a:extLst>
          </p:cNvPr>
          <p:cNvSpPr/>
          <p:nvPr/>
        </p:nvSpPr>
        <p:spPr>
          <a:xfrm rot="10800000" flipH="1" flipV="1">
            <a:off x="4161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 : coins arrondis 22">
            <a:extLst>
              <a:ext uri="{FF2B5EF4-FFF2-40B4-BE49-F238E27FC236}">
                <a16:creationId xmlns:a16="http://schemas.microsoft.com/office/drawing/2014/main" id="{77A51F49-2A83-4DC4-2316-04B0D0511ED6}"/>
              </a:ext>
            </a:extLst>
          </p:cNvPr>
          <p:cNvSpPr/>
          <p:nvPr/>
        </p:nvSpPr>
        <p:spPr>
          <a:xfrm rot="10800000" flipV="1">
            <a:off x="253069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Descrevem ao longo de uma linha de tempo a sequência de comunicações entre objetos. </a:t>
            </a:r>
          </a:p>
        </p:txBody>
      </p:sp>
      <p:sp>
        <p:nvSpPr>
          <p:cNvPr id="10" name="Rectangle : avec coins arrondis en haut 23">
            <a:extLst>
              <a:ext uri="{FF2B5EF4-FFF2-40B4-BE49-F238E27FC236}">
                <a16:creationId xmlns:a16="http://schemas.microsoft.com/office/drawing/2014/main" id="{C3F084EF-4841-F482-22C6-A94CC4F4B665}"/>
              </a:ext>
            </a:extLst>
          </p:cNvPr>
          <p:cNvSpPr/>
          <p:nvPr/>
        </p:nvSpPr>
        <p:spPr>
          <a:xfrm rot="10800000" flipH="1" flipV="1">
            <a:off x="253070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Rectangle : coins arrondis 31">
            <a:extLst>
              <a:ext uri="{FF2B5EF4-FFF2-40B4-BE49-F238E27FC236}">
                <a16:creationId xmlns:a16="http://schemas.microsoft.com/office/drawing/2014/main" id="{B0D8C0EC-2C13-B3E6-7811-8E9000CDC49C}"/>
              </a:ext>
            </a:extLst>
          </p:cNvPr>
          <p:cNvSpPr/>
          <p:nvPr/>
        </p:nvSpPr>
        <p:spPr>
          <a:xfrm rot="10800000" flipV="1">
            <a:off x="46452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O decorrer do tempo é visualizado observando-se o diagrama no sentido vertical de cima para baixo. </a:t>
            </a:r>
          </a:p>
        </p:txBody>
      </p:sp>
      <p:sp>
        <p:nvSpPr>
          <p:cNvPr id="12" name="Rectangle : avec coins arrondis en haut 32">
            <a:extLst>
              <a:ext uri="{FF2B5EF4-FFF2-40B4-BE49-F238E27FC236}">
                <a16:creationId xmlns:a16="http://schemas.microsoft.com/office/drawing/2014/main" id="{8B33778F-055C-28A0-DF87-9D7AD27D559C}"/>
              </a:ext>
            </a:extLst>
          </p:cNvPr>
          <p:cNvSpPr/>
          <p:nvPr/>
        </p:nvSpPr>
        <p:spPr>
          <a:xfrm rot="10800000" flipH="1" flipV="1">
            <a:off x="46452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3981410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7" name="Rectangle : coins arrondis 10">
            <a:extLst>
              <a:ext uri="{FF2B5EF4-FFF2-40B4-BE49-F238E27FC236}">
                <a16:creationId xmlns:a16="http://schemas.microsoft.com/office/drawing/2014/main" id="{8FDABD18-DDF6-8E56-2626-52FAFE5C4142}"/>
              </a:ext>
            </a:extLst>
          </p:cNvPr>
          <p:cNvSpPr/>
          <p:nvPr/>
        </p:nvSpPr>
        <p:spPr>
          <a:xfrm rot="10800000" flipV="1">
            <a:off x="4161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É também um diagrama de objetos (camadas) que mostra o envio de mensagens entre eles.</a:t>
            </a:r>
          </a:p>
        </p:txBody>
      </p:sp>
      <p:sp>
        <p:nvSpPr>
          <p:cNvPr id="8" name="Rectangle : avec coins arrondis en haut 12">
            <a:extLst>
              <a:ext uri="{FF2B5EF4-FFF2-40B4-BE49-F238E27FC236}">
                <a16:creationId xmlns:a16="http://schemas.microsoft.com/office/drawing/2014/main" id="{3FA166F2-6C0B-F150-77B2-7D98032DEFF6}"/>
              </a:ext>
            </a:extLst>
          </p:cNvPr>
          <p:cNvSpPr/>
          <p:nvPr/>
        </p:nvSpPr>
        <p:spPr>
          <a:xfrm rot="10800000" flipH="1" flipV="1">
            <a:off x="4161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 : coins arrondis 22">
            <a:extLst>
              <a:ext uri="{FF2B5EF4-FFF2-40B4-BE49-F238E27FC236}">
                <a16:creationId xmlns:a16="http://schemas.microsoft.com/office/drawing/2014/main" id="{77A51F49-2A83-4DC4-2316-04B0D0511ED6}"/>
              </a:ext>
            </a:extLst>
          </p:cNvPr>
          <p:cNvSpPr/>
          <p:nvPr/>
        </p:nvSpPr>
        <p:spPr>
          <a:xfrm rot="10800000" flipV="1">
            <a:off x="253069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Descrevem ao longo de uma linha de tempo a sequência de comunicações entre objetos. </a:t>
            </a:r>
          </a:p>
        </p:txBody>
      </p:sp>
      <p:sp>
        <p:nvSpPr>
          <p:cNvPr id="10" name="Rectangle : avec coins arrondis en haut 23">
            <a:extLst>
              <a:ext uri="{FF2B5EF4-FFF2-40B4-BE49-F238E27FC236}">
                <a16:creationId xmlns:a16="http://schemas.microsoft.com/office/drawing/2014/main" id="{C3F084EF-4841-F482-22C6-A94CC4F4B665}"/>
              </a:ext>
            </a:extLst>
          </p:cNvPr>
          <p:cNvSpPr/>
          <p:nvPr/>
        </p:nvSpPr>
        <p:spPr>
          <a:xfrm rot="10800000" flipH="1" flipV="1">
            <a:off x="253070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Rectangle : coins arrondis 31">
            <a:extLst>
              <a:ext uri="{FF2B5EF4-FFF2-40B4-BE49-F238E27FC236}">
                <a16:creationId xmlns:a16="http://schemas.microsoft.com/office/drawing/2014/main" id="{B0D8C0EC-2C13-B3E6-7811-8E9000CDC49C}"/>
              </a:ext>
            </a:extLst>
          </p:cNvPr>
          <p:cNvSpPr/>
          <p:nvPr/>
        </p:nvSpPr>
        <p:spPr>
          <a:xfrm rot="10800000" flipV="1">
            <a:off x="46452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O decorrer do tempo é visualizado observando-se o diagrama no sentido vertical de cima para baixo. </a:t>
            </a:r>
          </a:p>
        </p:txBody>
      </p:sp>
      <p:sp>
        <p:nvSpPr>
          <p:cNvPr id="12" name="Rectangle : avec coins arrondis en haut 32">
            <a:extLst>
              <a:ext uri="{FF2B5EF4-FFF2-40B4-BE49-F238E27FC236}">
                <a16:creationId xmlns:a16="http://schemas.microsoft.com/office/drawing/2014/main" id="{8B33778F-055C-28A0-DF87-9D7AD27D559C}"/>
              </a:ext>
            </a:extLst>
          </p:cNvPr>
          <p:cNvSpPr/>
          <p:nvPr/>
        </p:nvSpPr>
        <p:spPr>
          <a:xfrm rot="10800000" flipH="1" flipV="1">
            <a:off x="46452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Rectangle : coins arrondis 40">
            <a:extLst>
              <a:ext uri="{FF2B5EF4-FFF2-40B4-BE49-F238E27FC236}">
                <a16:creationId xmlns:a16="http://schemas.microsoft.com/office/drawing/2014/main" id="{50124223-81ED-43BD-B0CB-B6CC9ABF43EA}"/>
              </a:ext>
            </a:extLst>
          </p:cNvPr>
          <p:cNvSpPr/>
          <p:nvPr/>
        </p:nvSpPr>
        <p:spPr>
          <a:xfrm rot="10800000" flipV="1">
            <a:off x="675979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As mensagens enviadas por cada objeto são simbolizadas por setas entre os objetos que se relacionam </a:t>
            </a:r>
            <a:endParaRPr lang="en-US" altLang="pt-BR" sz="2400" dirty="0">
              <a:solidFill>
                <a:schemeClr val="tx1"/>
              </a:solidFill>
              <a:latin typeface="Gotham HTF"/>
            </a:endParaRPr>
          </a:p>
        </p:txBody>
      </p:sp>
      <p:sp>
        <p:nvSpPr>
          <p:cNvPr id="14" name="Rectangle : avec coins arrondis en haut 41">
            <a:extLst>
              <a:ext uri="{FF2B5EF4-FFF2-40B4-BE49-F238E27FC236}">
                <a16:creationId xmlns:a16="http://schemas.microsoft.com/office/drawing/2014/main" id="{443E5E8B-AC40-7CD1-2841-9D433BC2F94F}"/>
              </a:ext>
            </a:extLst>
          </p:cNvPr>
          <p:cNvSpPr/>
          <p:nvPr/>
        </p:nvSpPr>
        <p:spPr>
          <a:xfrm rot="10800000" flipH="1" flipV="1">
            <a:off x="675980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rgbClr val="ED265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8813764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</p:spTree>
    <p:extLst>
      <p:ext uri="{BB962C8B-B14F-4D97-AF65-F5344CB8AC3E}">
        <p14:creationId xmlns:p14="http://schemas.microsoft.com/office/powerpoint/2010/main" val="335924860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</p:spTree>
    <p:extLst>
      <p:ext uri="{BB962C8B-B14F-4D97-AF65-F5344CB8AC3E}">
        <p14:creationId xmlns:p14="http://schemas.microsoft.com/office/powerpoint/2010/main" val="289485519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NÁLISE E DESENVOLVIMENTO DE SISTEMAS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Software Design &amp; TX</a:t>
            </a:r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2 – Diagrama de Sequência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Profa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. Gabriela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Salomão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profgabriela.salomao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32249528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386183700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9" name="Freeform 27">
            <a:extLst>
              <a:ext uri="{FF2B5EF4-FFF2-40B4-BE49-F238E27FC236}">
                <a16:creationId xmlns:a16="http://schemas.microsoft.com/office/drawing/2014/main" id="{89217C1E-E26D-F859-CC53-96A0C9D9F85A}"/>
              </a:ext>
            </a:extLst>
          </p:cNvPr>
          <p:cNvSpPr/>
          <p:nvPr/>
        </p:nvSpPr>
        <p:spPr>
          <a:xfrm>
            <a:off x="4654677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LINHA DE VIDA E FOCO DE CONTROLE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329558567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9" name="Freeform 27">
            <a:extLst>
              <a:ext uri="{FF2B5EF4-FFF2-40B4-BE49-F238E27FC236}">
                <a16:creationId xmlns:a16="http://schemas.microsoft.com/office/drawing/2014/main" id="{89217C1E-E26D-F859-CC53-96A0C9D9F85A}"/>
              </a:ext>
            </a:extLst>
          </p:cNvPr>
          <p:cNvSpPr/>
          <p:nvPr/>
        </p:nvSpPr>
        <p:spPr>
          <a:xfrm>
            <a:off x="4654677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LINHA DE VIDA E FOCO DE CONTROLE</a:t>
            </a:r>
          </a:p>
        </p:txBody>
      </p:sp>
      <p:sp>
        <p:nvSpPr>
          <p:cNvPr id="10" name="Freeform 28">
            <a:extLst>
              <a:ext uri="{FF2B5EF4-FFF2-40B4-BE49-F238E27FC236}">
                <a16:creationId xmlns:a16="http://schemas.microsoft.com/office/drawing/2014/main" id="{FB4CDD2C-E48B-A32B-25C3-2C41DE7C3E95}"/>
              </a:ext>
            </a:extLst>
          </p:cNvPr>
          <p:cNvSpPr>
            <a:spLocks noChangeAspect="1"/>
          </p:cNvSpPr>
          <p:nvPr/>
        </p:nvSpPr>
        <p:spPr>
          <a:xfrm>
            <a:off x="5791529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CRIAÇÃO E DESTRUIÇÂO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391141955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9" name="Freeform 27">
            <a:extLst>
              <a:ext uri="{FF2B5EF4-FFF2-40B4-BE49-F238E27FC236}">
                <a16:creationId xmlns:a16="http://schemas.microsoft.com/office/drawing/2014/main" id="{89217C1E-E26D-F859-CC53-96A0C9D9F85A}"/>
              </a:ext>
            </a:extLst>
          </p:cNvPr>
          <p:cNvSpPr/>
          <p:nvPr/>
        </p:nvSpPr>
        <p:spPr>
          <a:xfrm>
            <a:off x="4654677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LINHA DE VIDA E FOCO DE CONTROLE</a:t>
            </a:r>
          </a:p>
        </p:txBody>
      </p:sp>
      <p:sp>
        <p:nvSpPr>
          <p:cNvPr id="10" name="Freeform 28">
            <a:extLst>
              <a:ext uri="{FF2B5EF4-FFF2-40B4-BE49-F238E27FC236}">
                <a16:creationId xmlns:a16="http://schemas.microsoft.com/office/drawing/2014/main" id="{FB4CDD2C-E48B-A32B-25C3-2C41DE7C3E95}"/>
              </a:ext>
            </a:extLst>
          </p:cNvPr>
          <p:cNvSpPr>
            <a:spLocks noChangeAspect="1"/>
          </p:cNvSpPr>
          <p:nvPr/>
        </p:nvSpPr>
        <p:spPr>
          <a:xfrm>
            <a:off x="5791529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CRIAÇÃO E DESTRUIÇÂO</a:t>
            </a:r>
          </a:p>
        </p:txBody>
      </p:sp>
      <p:sp>
        <p:nvSpPr>
          <p:cNvPr id="11" name="Freeform 29">
            <a:extLst>
              <a:ext uri="{FF2B5EF4-FFF2-40B4-BE49-F238E27FC236}">
                <a16:creationId xmlns:a16="http://schemas.microsoft.com/office/drawing/2014/main" id="{E0C83597-F8E6-EEF2-1972-AADD3727D1D9}"/>
              </a:ext>
            </a:extLst>
          </p:cNvPr>
          <p:cNvSpPr/>
          <p:nvPr/>
        </p:nvSpPr>
        <p:spPr>
          <a:xfrm>
            <a:off x="7323095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ITERAÇÕES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419518757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9" name="Freeform 27">
            <a:extLst>
              <a:ext uri="{FF2B5EF4-FFF2-40B4-BE49-F238E27FC236}">
                <a16:creationId xmlns:a16="http://schemas.microsoft.com/office/drawing/2014/main" id="{89217C1E-E26D-F859-CC53-96A0C9D9F85A}"/>
              </a:ext>
            </a:extLst>
          </p:cNvPr>
          <p:cNvSpPr/>
          <p:nvPr/>
        </p:nvSpPr>
        <p:spPr>
          <a:xfrm>
            <a:off x="4654677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LINHA DE VIDA E FOCO DE CONTROLE</a:t>
            </a:r>
          </a:p>
        </p:txBody>
      </p:sp>
      <p:sp>
        <p:nvSpPr>
          <p:cNvPr id="10" name="Freeform 28">
            <a:extLst>
              <a:ext uri="{FF2B5EF4-FFF2-40B4-BE49-F238E27FC236}">
                <a16:creationId xmlns:a16="http://schemas.microsoft.com/office/drawing/2014/main" id="{FB4CDD2C-E48B-A32B-25C3-2C41DE7C3E95}"/>
              </a:ext>
            </a:extLst>
          </p:cNvPr>
          <p:cNvSpPr>
            <a:spLocks noChangeAspect="1"/>
          </p:cNvSpPr>
          <p:nvPr/>
        </p:nvSpPr>
        <p:spPr>
          <a:xfrm>
            <a:off x="5791529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CRIAÇÃO E DESTRUIÇÂO</a:t>
            </a:r>
          </a:p>
        </p:txBody>
      </p:sp>
      <p:sp>
        <p:nvSpPr>
          <p:cNvPr id="11" name="Freeform 29">
            <a:extLst>
              <a:ext uri="{FF2B5EF4-FFF2-40B4-BE49-F238E27FC236}">
                <a16:creationId xmlns:a16="http://schemas.microsoft.com/office/drawing/2014/main" id="{E0C83597-F8E6-EEF2-1972-AADD3727D1D9}"/>
              </a:ext>
            </a:extLst>
          </p:cNvPr>
          <p:cNvSpPr/>
          <p:nvPr/>
        </p:nvSpPr>
        <p:spPr>
          <a:xfrm>
            <a:off x="7323095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ITERAÇÕES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93749722-03F5-A85C-9862-0C822B63BF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53" t="29201" r="12897" b="18529"/>
          <a:stretch>
            <a:fillRect/>
          </a:stretch>
        </p:blipFill>
        <p:spPr bwMode="auto">
          <a:xfrm>
            <a:off x="35496" y="2492896"/>
            <a:ext cx="8259840" cy="4049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707248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3" name="Picture 2">
            <a:extLst>
              <a:ext uri="{FF2B5EF4-FFF2-40B4-BE49-F238E27FC236}">
                <a16:creationId xmlns:a16="http://schemas.microsoft.com/office/drawing/2014/main" id="{4E008EBE-6ADD-5FCF-147E-77634CCDA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2" t="35451" r="37921" b="20421"/>
          <a:stretch>
            <a:fillRect/>
          </a:stretch>
        </p:blipFill>
        <p:spPr bwMode="auto">
          <a:xfrm>
            <a:off x="1296000" y="1794600"/>
            <a:ext cx="6552000" cy="326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354F6739-A51F-6AB8-12C9-D21277786006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otação de Obje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C2B3AE44-93B2-4BB4-559D-FE6BCF0A134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C2B3AE44-93B2-4BB4-559D-FE6BCF0A134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sp>
        <p:nvSpPr>
          <p:cNvPr id="6" name="ZoneTexte 54 - 3 - 1">
            <a:extLst>
              <a:ext uri="{FF2B5EF4-FFF2-40B4-BE49-F238E27FC236}">
                <a16:creationId xmlns:a16="http://schemas.microsoft.com/office/drawing/2014/main" id="{B4F50EA4-1C42-459D-69FC-87A947CD3FD3}"/>
              </a:ext>
            </a:extLst>
          </p:cNvPr>
          <p:cNvSpPr txBox="1"/>
          <p:nvPr/>
        </p:nvSpPr>
        <p:spPr>
          <a:xfrm>
            <a:off x="228601" y="3084527"/>
            <a:ext cx="3918746" cy="17881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rgbClr val="ED265B"/>
                </a:solidFill>
                <a:latin typeface="Gotham HTF"/>
              </a:rPr>
              <a:t>Síncrona</a:t>
            </a:r>
            <a:r>
              <a:rPr lang="pt-BR" sz="2400" dirty="0">
                <a:latin typeface="Gotham HTF"/>
              </a:rPr>
              <a:t>: emissor fica bloqueado até o receptor receber e tratar a mensagem</a:t>
            </a:r>
          </a:p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dirty="0">
                <a:latin typeface="Gotham HTF"/>
              </a:rPr>
              <a:t> </a:t>
            </a:r>
          </a:p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sz="2400" dirty="0" err="1">
                <a:latin typeface="Gotham HTF"/>
              </a:rPr>
              <a:t>Ex</a:t>
            </a:r>
            <a:r>
              <a:rPr lang="pt-BR" sz="2400" dirty="0">
                <a:latin typeface="Gotham HTF"/>
              </a:rPr>
              <a:t>: Uma chamada de API com retorno;</a:t>
            </a:r>
          </a:p>
          <a:p>
            <a:pPr algn="ctr" defTabSz="685800"/>
            <a:endParaRPr lang="pt-BR" sz="2400" dirty="0">
              <a:solidFill>
                <a:prstClr val="black"/>
              </a:solidFill>
              <a:latin typeface="Gotham HTF"/>
            </a:endParaRPr>
          </a:p>
        </p:txBody>
      </p:sp>
      <p:grpSp>
        <p:nvGrpSpPr>
          <p:cNvPr id="5146" name="Transfe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97148D2-20BB-2ADB-3FFE-F596792D33C5}"/>
              </a:ext>
            </a:extLst>
          </p:cNvPr>
          <p:cNvGrpSpPr>
            <a:grpSpLocks noChangeAspect="1"/>
          </p:cNvGrpSpPr>
          <p:nvPr/>
        </p:nvGrpSpPr>
        <p:grpSpPr>
          <a:xfrm>
            <a:off x="1907704" y="1124744"/>
            <a:ext cx="1443784" cy="1650910"/>
            <a:chOff x="8088314" y="3941763"/>
            <a:chExt cx="376237" cy="430213"/>
          </a:xfrm>
          <a:solidFill>
            <a:schemeClr val="accent1"/>
          </a:solidFill>
        </p:grpSpPr>
        <p:sp>
          <p:nvSpPr>
            <p:cNvPr id="5147" name="Freeform 471">
              <a:extLst>
                <a:ext uri="{FF2B5EF4-FFF2-40B4-BE49-F238E27FC236}">
                  <a16:creationId xmlns:a16="http://schemas.microsoft.com/office/drawing/2014/main" id="{E08524E4-A8F7-FCF5-3238-D6C4DE9C74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88314" y="3941763"/>
              <a:ext cx="292100" cy="311150"/>
            </a:xfrm>
            <a:custGeom>
              <a:avLst/>
              <a:gdLst>
                <a:gd name="T0" fmla="*/ 206 w 320"/>
                <a:gd name="T1" fmla="*/ 56 h 340"/>
                <a:gd name="T2" fmla="*/ 72 w 320"/>
                <a:gd name="T3" fmla="*/ 119 h 340"/>
                <a:gd name="T4" fmla="*/ 53 w 320"/>
                <a:gd name="T5" fmla="*/ 320 h 340"/>
                <a:gd name="T6" fmla="*/ 71 w 320"/>
                <a:gd name="T7" fmla="*/ 309 h 340"/>
                <a:gd name="T8" fmla="*/ 88 w 320"/>
                <a:gd name="T9" fmla="*/ 132 h 340"/>
                <a:gd name="T10" fmla="*/ 242 w 320"/>
                <a:gd name="T11" fmla="*/ 81 h 340"/>
                <a:gd name="T12" fmla="*/ 264 w 320"/>
                <a:gd name="T13" fmla="*/ 87 h 340"/>
                <a:gd name="T14" fmla="*/ 217 w 320"/>
                <a:gd name="T15" fmla="*/ 106 h 340"/>
                <a:gd name="T16" fmla="*/ 226 w 320"/>
                <a:gd name="T17" fmla="*/ 126 h 340"/>
                <a:gd name="T18" fmla="*/ 300 w 320"/>
                <a:gd name="T19" fmla="*/ 94 h 340"/>
                <a:gd name="T20" fmla="*/ 269 w 320"/>
                <a:gd name="T21" fmla="*/ 20 h 340"/>
                <a:gd name="T22" fmla="*/ 250 w 320"/>
                <a:gd name="T23" fmla="*/ 28 h 340"/>
                <a:gd name="T24" fmla="*/ 266 w 320"/>
                <a:gd name="T25" fmla="*/ 66 h 340"/>
                <a:gd name="T26" fmla="*/ 251 w 320"/>
                <a:gd name="T27" fmla="*/ 62 h 340"/>
                <a:gd name="T28" fmla="*/ 206 w 320"/>
                <a:gd name="T29" fmla="*/ 56 h 340"/>
                <a:gd name="T30" fmla="*/ 48 w 320"/>
                <a:gd name="T31" fmla="*/ 340 h 340"/>
                <a:gd name="T32" fmla="*/ 45 w 320"/>
                <a:gd name="T33" fmla="*/ 334 h 340"/>
                <a:gd name="T34" fmla="*/ 61 w 320"/>
                <a:gd name="T35" fmla="*/ 109 h 340"/>
                <a:gd name="T36" fmla="*/ 241 w 320"/>
                <a:gd name="T37" fmla="*/ 45 h 340"/>
                <a:gd name="T38" fmla="*/ 231 w 320"/>
                <a:gd name="T39" fmla="*/ 20 h 340"/>
                <a:gd name="T40" fmla="*/ 277 w 320"/>
                <a:gd name="T41" fmla="*/ 0 h 340"/>
                <a:gd name="T42" fmla="*/ 320 w 320"/>
                <a:gd name="T43" fmla="*/ 102 h 340"/>
                <a:gd name="T44" fmla="*/ 218 w 320"/>
                <a:gd name="T45" fmla="*/ 145 h 340"/>
                <a:gd name="T46" fmla="*/ 198 w 320"/>
                <a:gd name="T47" fmla="*/ 98 h 340"/>
                <a:gd name="T48" fmla="*/ 213 w 320"/>
                <a:gd name="T49" fmla="*/ 92 h 340"/>
                <a:gd name="T50" fmla="*/ 99 w 320"/>
                <a:gd name="T51" fmla="*/ 142 h 340"/>
                <a:gd name="T52" fmla="*/ 87 w 320"/>
                <a:gd name="T53" fmla="*/ 307 h 340"/>
                <a:gd name="T54" fmla="*/ 91 w 320"/>
                <a:gd name="T55" fmla="*/ 313 h 340"/>
                <a:gd name="T56" fmla="*/ 48 w 320"/>
                <a:gd name="T57" fmla="*/ 3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0" h="340">
                  <a:moveTo>
                    <a:pt x="206" y="56"/>
                  </a:moveTo>
                  <a:cubicBezTo>
                    <a:pt x="155" y="56"/>
                    <a:pt x="106" y="78"/>
                    <a:pt x="72" y="119"/>
                  </a:cubicBezTo>
                  <a:cubicBezTo>
                    <a:pt x="24" y="176"/>
                    <a:pt x="17" y="256"/>
                    <a:pt x="53" y="320"/>
                  </a:cubicBezTo>
                  <a:lnTo>
                    <a:pt x="71" y="309"/>
                  </a:lnTo>
                  <a:cubicBezTo>
                    <a:pt x="39" y="252"/>
                    <a:pt x="46" y="182"/>
                    <a:pt x="88" y="132"/>
                  </a:cubicBezTo>
                  <a:cubicBezTo>
                    <a:pt x="126" y="88"/>
                    <a:pt x="185" y="68"/>
                    <a:pt x="242" y="81"/>
                  </a:cubicBezTo>
                  <a:lnTo>
                    <a:pt x="264" y="87"/>
                  </a:lnTo>
                  <a:lnTo>
                    <a:pt x="217" y="106"/>
                  </a:lnTo>
                  <a:lnTo>
                    <a:pt x="226" y="126"/>
                  </a:lnTo>
                  <a:lnTo>
                    <a:pt x="300" y="94"/>
                  </a:lnTo>
                  <a:lnTo>
                    <a:pt x="269" y="20"/>
                  </a:lnTo>
                  <a:lnTo>
                    <a:pt x="250" y="28"/>
                  </a:lnTo>
                  <a:lnTo>
                    <a:pt x="266" y="66"/>
                  </a:lnTo>
                  <a:lnTo>
                    <a:pt x="251" y="62"/>
                  </a:lnTo>
                  <a:cubicBezTo>
                    <a:pt x="236" y="58"/>
                    <a:pt x="221" y="56"/>
                    <a:pt x="206" y="56"/>
                  </a:cubicBezTo>
                  <a:close/>
                  <a:moveTo>
                    <a:pt x="48" y="340"/>
                  </a:moveTo>
                  <a:lnTo>
                    <a:pt x="45" y="334"/>
                  </a:lnTo>
                  <a:cubicBezTo>
                    <a:pt x="0" y="263"/>
                    <a:pt x="7" y="173"/>
                    <a:pt x="61" y="109"/>
                  </a:cubicBezTo>
                  <a:cubicBezTo>
                    <a:pt x="106" y="56"/>
                    <a:pt x="174" y="32"/>
                    <a:pt x="241" y="45"/>
                  </a:cubicBezTo>
                  <a:lnTo>
                    <a:pt x="231" y="20"/>
                  </a:lnTo>
                  <a:lnTo>
                    <a:pt x="277" y="0"/>
                  </a:lnTo>
                  <a:lnTo>
                    <a:pt x="320" y="102"/>
                  </a:lnTo>
                  <a:lnTo>
                    <a:pt x="218" y="145"/>
                  </a:lnTo>
                  <a:lnTo>
                    <a:pt x="198" y="98"/>
                  </a:lnTo>
                  <a:lnTo>
                    <a:pt x="213" y="92"/>
                  </a:lnTo>
                  <a:cubicBezTo>
                    <a:pt x="170" y="90"/>
                    <a:pt x="128" y="108"/>
                    <a:pt x="99" y="142"/>
                  </a:cubicBezTo>
                  <a:cubicBezTo>
                    <a:pt x="60" y="189"/>
                    <a:pt x="55" y="255"/>
                    <a:pt x="87" y="307"/>
                  </a:cubicBezTo>
                  <a:lnTo>
                    <a:pt x="91" y="313"/>
                  </a:lnTo>
                  <a:lnTo>
                    <a:pt x="48" y="34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48" name="Freeform 472">
              <a:extLst>
                <a:ext uri="{FF2B5EF4-FFF2-40B4-BE49-F238E27FC236}">
                  <a16:creationId xmlns:a16="http://schemas.microsoft.com/office/drawing/2014/main" id="{B59B4B0F-9F4B-F247-E03A-CE85C5693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5151" y="4056063"/>
              <a:ext cx="279400" cy="315913"/>
            </a:xfrm>
            <a:custGeom>
              <a:avLst/>
              <a:gdLst>
                <a:gd name="T0" fmla="*/ 20 w 307"/>
                <a:gd name="T1" fmla="*/ 256 h 346"/>
                <a:gd name="T2" fmla="*/ 62 w 307"/>
                <a:gd name="T3" fmla="*/ 326 h 346"/>
                <a:gd name="T4" fmla="*/ 80 w 307"/>
                <a:gd name="T5" fmla="*/ 315 h 346"/>
                <a:gd name="T6" fmla="*/ 59 w 307"/>
                <a:gd name="T7" fmla="*/ 280 h 346"/>
                <a:gd name="T8" fmla="*/ 74 w 307"/>
                <a:gd name="T9" fmla="*/ 282 h 346"/>
                <a:gd name="T10" fmla="*/ 235 w 307"/>
                <a:gd name="T11" fmla="*/ 222 h 346"/>
                <a:gd name="T12" fmla="*/ 254 w 307"/>
                <a:gd name="T13" fmla="*/ 20 h 346"/>
                <a:gd name="T14" fmla="*/ 236 w 307"/>
                <a:gd name="T15" fmla="*/ 32 h 346"/>
                <a:gd name="T16" fmla="*/ 219 w 307"/>
                <a:gd name="T17" fmla="*/ 208 h 346"/>
                <a:gd name="T18" fmla="*/ 79 w 307"/>
                <a:gd name="T19" fmla="*/ 261 h 346"/>
                <a:gd name="T20" fmla="*/ 58 w 307"/>
                <a:gd name="T21" fmla="*/ 258 h 346"/>
                <a:gd name="T22" fmla="*/ 101 w 307"/>
                <a:gd name="T23" fmla="*/ 233 h 346"/>
                <a:gd name="T24" fmla="*/ 90 w 307"/>
                <a:gd name="T25" fmla="*/ 215 h 346"/>
                <a:gd name="T26" fmla="*/ 20 w 307"/>
                <a:gd name="T27" fmla="*/ 256 h 346"/>
                <a:gd name="T28" fmla="*/ 57 w 307"/>
                <a:gd name="T29" fmla="*/ 346 h 346"/>
                <a:gd name="T30" fmla="*/ 0 w 307"/>
                <a:gd name="T31" fmla="*/ 251 h 346"/>
                <a:gd name="T32" fmla="*/ 95 w 307"/>
                <a:gd name="T33" fmla="*/ 195 h 346"/>
                <a:gd name="T34" fmla="*/ 121 w 307"/>
                <a:gd name="T35" fmla="*/ 238 h 346"/>
                <a:gd name="T36" fmla="*/ 103 w 307"/>
                <a:gd name="T37" fmla="*/ 248 h 346"/>
                <a:gd name="T38" fmla="*/ 208 w 307"/>
                <a:gd name="T39" fmla="*/ 198 h 346"/>
                <a:gd name="T40" fmla="*/ 220 w 307"/>
                <a:gd name="T41" fmla="*/ 33 h 346"/>
                <a:gd name="T42" fmla="*/ 216 w 307"/>
                <a:gd name="T43" fmla="*/ 27 h 346"/>
                <a:gd name="T44" fmla="*/ 259 w 307"/>
                <a:gd name="T45" fmla="*/ 0 h 346"/>
                <a:gd name="T46" fmla="*/ 263 w 307"/>
                <a:gd name="T47" fmla="*/ 6 h 346"/>
                <a:gd name="T48" fmla="*/ 247 w 307"/>
                <a:gd name="T49" fmla="*/ 231 h 346"/>
                <a:gd name="T50" fmla="*/ 87 w 307"/>
                <a:gd name="T51" fmla="*/ 298 h 346"/>
                <a:gd name="T52" fmla="*/ 100 w 307"/>
                <a:gd name="T53" fmla="*/ 320 h 346"/>
                <a:gd name="T54" fmla="*/ 57 w 307"/>
                <a:gd name="T55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7" h="346">
                  <a:moveTo>
                    <a:pt x="20" y="256"/>
                  </a:moveTo>
                  <a:lnTo>
                    <a:pt x="62" y="326"/>
                  </a:lnTo>
                  <a:lnTo>
                    <a:pt x="80" y="315"/>
                  </a:lnTo>
                  <a:lnTo>
                    <a:pt x="59" y="280"/>
                  </a:lnTo>
                  <a:lnTo>
                    <a:pt x="74" y="282"/>
                  </a:lnTo>
                  <a:cubicBezTo>
                    <a:pt x="136" y="292"/>
                    <a:pt x="196" y="268"/>
                    <a:pt x="235" y="222"/>
                  </a:cubicBezTo>
                  <a:cubicBezTo>
                    <a:pt x="284" y="165"/>
                    <a:pt x="291" y="85"/>
                    <a:pt x="254" y="20"/>
                  </a:cubicBezTo>
                  <a:lnTo>
                    <a:pt x="236" y="32"/>
                  </a:lnTo>
                  <a:cubicBezTo>
                    <a:pt x="268" y="88"/>
                    <a:pt x="261" y="158"/>
                    <a:pt x="219" y="208"/>
                  </a:cubicBezTo>
                  <a:cubicBezTo>
                    <a:pt x="184" y="249"/>
                    <a:pt x="132" y="269"/>
                    <a:pt x="79" y="261"/>
                  </a:cubicBezTo>
                  <a:lnTo>
                    <a:pt x="58" y="258"/>
                  </a:lnTo>
                  <a:lnTo>
                    <a:pt x="101" y="233"/>
                  </a:lnTo>
                  <a:lnTo>
                    <a:pt x="90" y="215"/>
                  </a:lnTo>
                  <a:lnTo>
                    <a:pt x="20" y="256"/>
                  </a:lnTo>
                  <a:close/>
                  <a:moveTo>
                    <a:pt x="57" y="346"/>
                  </a:moveTo>
                  <a:lnTo>
                    <a:pt x="0" y="251"/>
                  </a:lnTo>
                  <a:lnTo>
                    <a:pt x="95" y="195"/>
                  </a:lnTo>
                  <a:lnTo>
                    <a:pt x="121" y="238"/>
                  </a:lnTo>
                  <a:lnTo>
                    <a:pt x="103" y="248"/>
                  </a:lnTo>
                  <a:cubicBezTo>
                    <a:pt x="144" y="248"/>
                    <a:pt x="181" y="230"/>
                    <a:pt x="208" y="198"/>
                  </a:cubicBezTo>
                  <a:cubicBezTo>
                    <a:pt x="248" y="152"/>
                    <a:pt x="252" y="85"/>
                    <a:pt x="220" y="33"/>
                  </a:cubicBezTo>
                  <a:lnTo>
                    <a:pt x="216" y="27"/>
                  </a:lnTo>
                  <a:lnTo>
                    <a:pt x="259" y="0"/>
                  </a:lnTo>
                  <a:lnTo>
                    <a:pt x="263" y="6"/>
                  </a:lnTo>
                  <a:cubicBezTo>
                    <a:pt x="307" y="77"/>
                    <a:pt x="300" y="167"/>
                    <a:pt x="247" y="231"/>
                  </a:cubicBezTo>
                  <a:cubicBezTo>
                    <a:pt x="207" y="278"/>
                    <a:pt x="149" y="303"/>
                    <a:pt x="87" y="298"/>
                  </a:cubicBezTo>
                  <a:lnTo>
                    <a:pt x="100" y="320"/>
                  </a:lnTo>
                  <a:lnTo>
                    <a:pt x="57" y="346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262790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C2B3AE44-93B2-4BB4-559D-FE6BCF0A134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sp>
        <p:nvSpPr>
          <p:cNvPr id="6" name="ZoneTexte 54 - 3 - 1">
            <a:extLst>
              <a:ext uri="{FF2B5EF4-FFF2-40B4-BE49-F238E27FC236}">
                <a16:creationId xmlns:a16="http://schemas.microsoft.com/office/drawing/2014/main" id="{B4F50EA4-1C42-459D-69FC-87A947CD3FD3}"/>
              </a:ext>
            </a:extLst>
          </p:cNvPr>
          <p:cNvSpPr txBox="1"/>
          <p:nvPr/>
        </p:nvSpPr>
        <p:spPr>
          <a:xfrm>
            <a:off x="228601" y="3084527"/>
            <a:ext cx="3918746" cy="17881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rgbClr val="ED265B"/>
                </a:solidFill>
                <a:latin typeface="Gotham HTF"/>
              </a:rPr>
              <a:t>Síncrona</a:t>
            </a:r>
            <a:r>
              <a:rPr lang="pt-BR" sz="2400" dirty="0">
                <a:latin typeface="Gotham HTF"/>
              </a:rPr>
              <a:t>: emissor fica bloqueado até o receptor receber e tratar a mensagem</a:t>
            </a:r>
          </a:p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dirty="0">
                <a:latin typeface="Gotham HTF"/>
              </a:rPr>
              <a:t> </a:t>
            </a:r>
          </a:p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sz="2400" dirty="0" err="1">
                <a:latin typeface="Gotham HTF"/>
              </a:rPr>
              <a:t>Ex</a:t>
            </a:r>
            <a:r>
              <a:rPr lang="pt-BR" sz="2400" dirty="0">
                <a:latin typeface="Gotham HTF"/>
              </a:rPr>
              <a:t>: Uma chamada de API com retorno;</a:t>
            </a:r>
          </a:p>
          <a:p>
            <a:pPr algn="ctr" defTabSz="685800"/>
            <a:endParaRPr lang="pt-BR" sz="2400" dirty="0">
              <a:solidFill>
                <a:prstClr val="black"/>
              </a:solidFill>
              <a:latin typeface="Gotham HTF"/>
            </a:endParaRPr>
          </a:p>
        </p:txBody>
      </p:sp>
      <p:cxnSp>
        <p:nvCxnSpPr>
          <p:cNvPr id="7" name="Straight Connector 67">
            <a:extLst>
              <a:ext uri="{FF2B5EF4-FFF2-40B4-BE49-F238E27FC236}">
                <a16:creationId xmlns:a16="http://schemas.microsoft.com/office/drawing/2014/main" id="{0EB7F66D-D2B7-E947-069E-1625C7542C1B}"/>
              </a:ext>
            </a:extLst>
          </p:cNvPr>
          <p:cNvCxnSpPr>
            <a:cxnSpLocks/>
          </p:cNvCxnSpPr>
          <p:nvPr/>
        </p:nvCxnSpPr>
        <p:spPr>
          <a:xfrm rot="5400000">
            <a:off x="3677934" y="3978592"/>
            <a:ext cx="1788131" cy="0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ZoneTexte 54 - 3 - 2">
            <a:extLst>
              <a:ext uri="{FF2B5EF4-FFF2-40B4-BE49-F238E27FC236}">
                <a16:creationId xmlns:a16="http://schemas.microsoft.com/office/drawing/2014/main" id="{3692F0FE-32CA-5EAB-4C6D-EDBED4741603}"/>
              </a:ext>
            </a:extLst>
          </p:cNvPr>
          <p:cNvSpPr txBox="1"/>
          <p:nvPr/>
        </p:nvSpPr>
        <p:spPr>
          <a:xfrm>
            <a:off x="4996653" y="3084527"/>
            <a:ext cx="3918744" cy="17881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rgbClr val="ED265B"/>
                </a:solidFill>
                <a:latin typeface="Gotham HTF"/>
              </a:rPr>
              <a:t>Assíncrona</a:t>
            </a:r>
            <a:r>
              <a:rPr lang="pt-BR" sz="2400" dirty="0">
                <a:latin typeface="Gotham HTF"/>
              </a:rPr>
              <a:t>: emissor continua a emitir mensagens, não há dependências de resposta.</a:t>
            </a:r>
          </a:p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endParaRPr lang="pt-BR" sz="2400" dirty="0">
              <a:latin typeface="Gotham HTF"/>
            </a:endParaRPr>
          </a:p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sz="2400" dirty="0" err="1">
                <a:latin typeface="Gotham HTF"/>
              </a:rPr>
              <a:t>Ex</a:t>
            </a:r>
            <a:r>
              <a:rPr lang="pt-BR" sz="2400" dirty="0">
                <a:latin typeface="Gotham HTF"/>
              </a:rPr>
              <a:t>: Uma operação para apresentação de uma mensagem no monitor. </a:t>
            </a:r>
          </a:p>
        </p:txBody>
      </p:sp>
      <p:grpSp>
        <p:nvGrpSpPr>
          <p:cNvPr id="9" name="Venn_diagram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CCC561A-8883-DDDA-3C09-1DFD13B6B66F}"/>
              </a:ext>
            </a:extLst>
          </p:cNvPr>
          <p:cNvGrpSpPr>
            <a:grpSpLocks noChangeAspect="1"/>
          </p:cNvGrpSpPr>
          <p:nvPr/>
        </p:nvGrpSpPr>
        <p:grpSpPr>
          <a:xfrm>
            <a:off x="5751929" y="1128637"/>
            <a:ext cx="1586930" cy="1719172"/>
            <a:chOff x="5618163" y="4584700"/>
            <a:chExt cx="266701" cy="288925"/>
          </a:xfrm>
          <a:solidFill>
            <a:schemeClr val="accent2"/>
          </a:solidFill>
        </p:grpSpPr>
        <p:sp>
          <p:nvSpPr>
            <p:cNvPr id="10" name="Freeform 733">
              <a:extLst>
                <a:ext uri="{FF2B5EF4-FFF2-40B4-BE49-F238E27FC236}">
                  <a16:creationId xmlns:a16="http://schemas.microsoft.com/office/drawing/2014/main" id="{3092E293-3262-F82D-D74C-7F175BC79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2788" y="4646613"/>
              <a:ext cx="14288" cy="15875"/>
            </a:xfrm>
            <a:custGeom>
              <a:avLst/>
              <a:gdLst>
                <a:gd name="T0" fmla="*/ 53 w 70"/>
                <a:gd name="T1" fmla="*/ 35 h 70"/>
                <a:gd name="T2" fmla="*/ 70 w 70"/>
                <a:gd name="T3" fmla="*/ 35 h 70"/>
                <a:gd name="T4" fmla="*/ 35 w 70"/>
                <a:gd name="T5" fmla="*/ 0 h 70"/>
                <a:gd name="T6" fmla="*/ 0 w 70"/>
                <a:gd name="T7" fmla="*/ 35 h 70"/>
                <a:gd name="T8" fmla="*/ 35 w 70"/>
                <a:gd name="T9" fmla="*/ 70 h 70"/>
                <a:gd name="T10" fmla="*/ 70 w 70"/>
                <a:gd name="T11" fmla="*/ 35 h 70"/>
                <a:gd name="T12" fmla="*/ 53 w 70"/>
                <a:gd name="T13" fmla="*/ 35 h 70"/>
                <a:gd name="T14" fmla="*/ 37 w 70"/>
                <a:gd name="T15" fmla="*/ 35 h 70"/>
                <a:gd name="T16" fmla="*/ 35 w 70"/>
                <a:gd name="T17" fmla="*/ 37 h 70"/>
                <a:gd name="T18" fmla="*/ 34 w 70"/>
                <a:gd name="T19" fmla="*/ 35 h 70"/>
                <a:gd name="T20" fmla="*/ 35 w 70"/>
                <a:gd name="T21" fmla="*/ 34 h 70"/>
                <a:gd name="T22" fmla="*/ 37 w 70"/>
                <a:gd name="T23" fmla="*/ 35 h 70"/>
                <a:gd name="T24" fmla="*/ 53 w 70"/>
                <a:gd name="T25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" h="70">
                  <a:moveTo>
                    <a:pt x="53" y="35"/>
                  </a:moveTo>
                  <a:lnTo>
                    <a:pt x="70" y="35"/>
                  </a:lnTo>
                  <a:cubicBezTo>
                    <a:pt x="70" y="16"/>
                    <a:pt x="54" y="0"/>
                    <a:pt x="35" y="0"/>
                  </a:cubicBezTo>
                  <a:cubicBezTo>
                    <a:pt x="16" y="0"/>
                    <a:pt x="0" y="16"/>
                    <a:pt x="0" y="35"/>
                  </a:cubicBezTo>
                  <a:cubicBezTo>
                    <a:pt x="0" y="54"/>
                    <a:pt x="16" y="70"/>
                    <a:pt x="35" y="70"/>
                  </a:cubicBezTo>
                  <a:cubicBezTo>
                    <a:pt x="55" y="70"/>
                    <a:pt x="70" y="54"/>
                    <a:pt x="70" y="35"/>
                  </a:cubicBezTo>
                  <a:lnTo>
                    <a:pt x="53" y="35"/>
                  </a:lnTo>
                  <a:lnTo>
                    <a:pt x="37" y="35"/>
                  </a:lnTo>
                  <a:lnTo>
                    <a:pt x="35" y="37"/>
                  </a:lnTo>
                  <a:lnTo>
                    <a:pt x="34" y="35"/>
                  </a:lnTo>
                  <a:lnTo>
                    <a:pt x="35" y="34"/>
                  </a:lnTo>
                  <a:lnTo>
                    <a:pt x="37" y="35"/>
                  </a:lnTo>
                  <a:lnTo>
                    <a:pt x="53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 734">
              <a:extLst>
                <a:ext uri="{FF2B5EF4-FFF2-40B4-BE49-F238E27FC236}">
                  <a16:creationId xmlns:a16="http://schemas.microsoft.com/office/drawing/2014/main" id="{D5A268CF-3307-17CE-1DB8-8AB8A4F18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551" y="4597400"/>
              <a:ext cx="87313" cy="58738"/>
            </a:xfrm>
            <a:custGeom>
              <a:avLst/>
              <a:gdLst>
                <a:gd name="T0" fmla="*/ 3 w 55"/>
                <a:gd name="T1" fmla="*/ 37 h 37"/>
                <a:gd name="T2" fmla="*/ 23 w 55"/>
                <a:gd name="T3" fmla="*/ 5 h 37"/>
                <a:gd name="T4" fmla="*/ 55 w 55"/>
                <a:gd name="T5" fmla="*/ 5 h 37"/>
                <a:gd name="T6" fmla="*/ 55 w 55"/>
                <a:gd name="T7" fmla="*/ 0 h 37"/>
                <a:gd name="T8" fmla="*/ 21 w 55"/>
                <a:gd name="T9" fmla="*/ 0 h 37"/>
                <a:gd name="T10" fmla="*/ 0 w 55"/>
                <a:gd name="T11" fmla="*/ 35 h 37"/>
                <a:gd name="T12" fmla="*/ 3 w 55"/>
                <a:gd name="T1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37">
                  <a:moveTo>
                    <a:pt x="3" y="37"/>
                  </a:moveTo>
                  <a:lnTo>
                    <a:pt x="23" y="5"/>
                  </a:lnTo>
                  <a:lnTo>
                    <a:pt x="55" y="5"/>
                  </a:lnTo>
                  <a:lnTo>
                    <a:pt x="55" y="0"/>
                  </a:lnTo>
                  <a:lnTo>
                    <a:pt x="21" y="0"/>
                  </a:lnTo>
                  <a:lnTo>
                    <a:pt x="0" y="35"/>
                  </a:lnTo>
                  <a:lnTo>
                    <a:pt x="3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Rectangle 735">
              <a:extLst>
                <a:ext uri="{FF2B5EF4-FFF2-40B4-BE49-F238E27FC236}">
                  <a16:creationId xmlns:a16="http://schemas.microsoft.com/office/drawing/2014/main" id="{DD04A6BE-9E2F-04F3-8761-20716C7C4D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2476" y="4584700"/>
              <a:ext cx="38100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 736">
              <a:extLst>
                <a:ext uri="{FF2B5EF4-FFF2-40B4-BE49-F238E27FC236}">
                  <a16:creationId xmlns:a16="http://schemas.microsoft.com/office/drawing/2014/main" id="{B120FBC8-2AA6-86DE-F0D9-0A24EA5BF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6" y="4795838"/>
              <a:ext cx="14288" cy="14288"/>
            </a:xfrm>
            <a:custGeom>
              <a:avLst/>
              <a:gdLst>
                <a:gd name="T0" fmla="*/ 53 w 70"/>
                <a:gd name="T1" fmla="*/ 35 h 70"/>
                <a:gd name="T2" fmla="*/ 36 w 70"/>
                <a:gd name="T3" fmla="*/ 35 h 70"/>
                <a:gd name="T4" fmla="*/ 35 w 70"/>
                <a:gd name="T5" fmla="*/ 37 h 70"/>
                <a:gd name="T6" fmla="*/ 33 w 70"/>
                <a:gd name="T7" fmla="*/ 35 h 70"/>
                <a:gd name="T8" fmla="*/ 35 w 70"/>
                <a:gd name="T9" fmla="*/ 33 h 70"/>
                <a:gd name="T10" fmla="*/ 36 w 70"/>
                <a:gd name="T11" fmla="*/ 35 h 70"/>
                <a:gd name="T12" fmla="*/ 53 w 70"/>
                <a:gd name="T13" fmla="*/ 35 h 70"/>
                <a:gd name="T14" fmla="*/ 70 w 70"/>
                <a:gd name="T15" fmla="*/ 35 h 70"/>
                <a:gd name="T16" fmla="*/ 35 w 70"/>
                <a:gd name="T17" fmla="*/ 0 h 70"/>
                <a:gd name="T18" fmla="*/ 0 w 70"/>
                <a:gd name="T19" fmla="*/ 35 h 70"/>
                <a:gd name="T20" fmla="*/ 35 w 70"/>
                <a:gd name="T21" fmla="*/ 70 h 70"/>
                <a:gd name="T22" fmla="*/ 70 w 70"/>
                <a:gd name="T23" fmla="*/ 35 h 70"/>
                <a:gd name="T24" fmla="*/ 53 w 70"/>
                <a:gd name="T25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" h="70">
                  <a:moveTo>
                    <a:pt x="53" y="35"/>
                  </a:moveTo>
                  <a:lnTo>
                    <a:pt x="36" y="35"/>
                  </a:lnTo>
                  <a:lnTo>
                    <a:pt x="35" y="37"/>
                  </a:lnTo>
                  <a:lnTo>
                    <a:pt x="33" y="35"/>
                  </a:lnTo>
                  <a:lnTo>
                    <a:pt x="35" y="33"/>
                  </a:lnTo>
                  <a:lnTo>
                    <a:pt x="36" y="35"/>
                  </a:lnTo>
                  <a:lnTo>
                    <a:pt x="53" y="35"/>
                  </a:lnTo>
                  <a:lnTo>
                    <a:pt x="70" y="35"/>
                  </a:lnTo>
                  <a:cubicBezTo>
                    <a:pt x="70" y="16"/>
                    <a:pt x="54" y="0"/>
                    <a:pt x="35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5" y="70"/>
                  </a:cubicBezTo>
                  <a:cubicBezTo>
                    <a:pt x="54" y="70"/>
                    <a:pt x="70" y="54"/>
                    <a:pt x="70" y="35"/>
                  </a:cubicBezTo>
                  <a:lnTo>
                    <a:pt x="53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 737">
              <a:extLst>
                <a:ext uri="{FF2B5EF4-FFF2-40B4-BE49-F238E27FC236}">
                  <a16:creationId xmlns:a16="http://schemas.microsoft.com/office/drawing/2014/main" id="{161C2289-AA05-E3F6-41C4-CB09BF152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551" y="4800600"/>
              <a:ext cx="87313" cy="58738"/>
            </a:xfrm>
            <a:custGeom>
              <a:avLst/>
              <a:gdLst>
                <a:gd name="T0" fmla="*/ 0 w 55"/>
                <a:gd name="T1" fmla="*/ 3 h 37"/>
                <a:gd name="T2" fmla="*/ 22 w 55"/>
                <a:gd name="T3" fmla="*/ 37 h 37"/>
                <a:gd name="T4" fmla="*/ 55 w 55"/>
                <a:gd name="T5" fmla="*/ 37 h 37"/>
                <a:gd name="T6" fmla="*/ 55 w 55"/>
                <a:gd name="T7" fmla="*/ 33 h 37"/>
                <a:gd name="T8" fmla="*/ 24 w 55"/>
                <a:gd name="T9" fmla="*/ 33 h 37"/>
                <a:gd name="T10" fmla="*/ 4 w 55"/>
                <a:gd name="T11" fmla="*/ 0 h 37"/>
                <a:gd name="T12" fmla="*/ 0 w 55"/>
                <a:gd name="T13" fmla="*/ 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37">
                  <a:moveTo>
                    <a:pt x="0" y="3"/>
                  </a:moveTo>
                  <a:lnTo>
                    <a:pt x="22" y="37"/>
                  </a:lnTo>
                  <a:lnTo>
                    <a:pt x="55" y="37"/>
                  </a:lnTo>
                  <a:lnTo>
                    <a:pt x="55" y="33"/>
                  </a:lnTo>
                  <a:lnTo>
                    <a:pt x="24" y="33"/>
                  </a:lnTo>
                  <a:lnTo>
                    <a:pt x="4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Rectangle 738">
              <a:extLst>
                <a:ext uri="{FF2B5EF4-FFF2-40B4-BE49-F238E27FC236}">
                  <a16:creationId xmlns:a16="http://schemas.microsoft.com/office/drawing/2014/main" id="{BE1DD73B-378E-BF58-A4D6-5E6C5DE577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4063" y="4867275"/>
              <a:ext cx="38100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 739">
              <a:extLst>
                <a:ext uri="{FF2B5EF4-FFF2-40B4-BE49-F238E27FC236}">
                  <a16:creationId xmlns:a16="http://schemas.microsoft.com/office/drawing/2014/main" id="{B3230143-DFB4-AE92-81CB-B4D72B3A9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5951" y="4795838"/>
              <a:ext cx="14288" cy="14288"/>
            </a:xfrm>
            <a:custGeom>
              <a:avLst/>
              <a:gdLst>
                <a:gd name="T0" fmla="*/ 16 w 69"/>
                <a:gd name="T1" fmla="*/ 35 h 70"/>
                <a:gd name="T2" fmla="*/ 0 w 69"/>
                <a:gd name="T3" fmla="*/ 35 h 70"/>
                <a:gd name="T4" fmla="*/ 35 w 69"/>
                <a:gd name="T5" fmla="*/ 70 h 70"/>
                <a:gd name="T6" fmla="*/ 69 w 69"/>
                <a:gd name="T7" fmla="*/ 35 h 70"/>
                <a:gd name="T8" fmla="*/ 35 w 69"/>
                <a:gd name="T9" fmla="*/ 0 h 70"/>
                <a:gd name="T10" fmla="*/ 0 w 69"/>
                <a:gd name="T11" fmla="*/ 35 h 70"/>
                <a:gd name="T12" fmla="*/ 16 w 69"/>
                <a:gd name="T13" fmla="*/ 35 h 70"/>
                <a:gd name="T14" fmla="*/ 33 w 69"/>
                <a:gd name="T15" fmla="*/ 35 h 70"/>
                <a:gd name="T16" fmla="*/ 35 w 69"/>
                <a:gd name="T17" fmla="*/ 33 h 70"/>
                <a:gd name="T18" fmla="*/ 36 w 69"/>
                <a:gd name="T19" fmla="*/ 35 h 70"/>
                <a:gd name="T20" fmla="*/ 35 w 69"/>
                <a:gd name="T21" fmla="*/ 37 h 70"/>
                <a:gd name="T22" fmla="*/ 33 w 69"/>
                <a:gd name="T23" fmla="*/ 35 h 70"/>
                <a:gd name="T24" fmla="*/ 16 w 69"/>
                <a:gd name="T25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" h="70">
                  <a:moveTo>
                    <a:pt x="16" y="35"/>
                  </a:moveTo>
                  <a:lnTo>
                    <a:pt x="0" y="35"/>
                  </a:lnTo>
                  <a:cubicBezTo>
                    <a:pt x="0" y="54"/>
                    <a:pt x="15" y="70"/>
                    <a:pt x="35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5" y="0"/>
                  </a:cubicBezTo>
                  <a:cubicBezTo>
                    <a:pt x="15" y="0"/>
                    <a:pt x="0" y="16"/>
                    <a:pt x="0" y="35"/>
                  </a:cubicBezTo>
                  <a:lnTo>
                    <a:pt x="16" y="35"/>
                  </a:lnTo>
                  <a:lnTo>
                    <a:pt x="33" y="35"/>
                  </a:lnTo>
                  <a:lnTo>
                    <a:pt x="35" y="33"/>
                  </a:lnTo>
                  <a:lnTo>
                    <a:pt x="36" y="35"/>
                  </a:lnTo>
                  <a:lnTo>
                    <a:pt x="35" y="37"/>
                  </a:lnTo>
                  <a:lnTo>
                    <a:pt x="33" y="35"/>
                  </a:lnTo>
                  <a:lnTo>
                    <a:pt x="16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 740">
              <a:extLst>
                <a:ext uri="{FF2B5EF4-FFF2-40B4-BE49-F238E27FC236}">
                  <a16:creationId xmlns:a16="http://schemas.microsoft.com/office/drawing/2014/main" id="{C76392D3-6668-DDB7-BF85-110282C45E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8163" y="4800600"/>
              <a:ext cx="87313" cy="58738"/>
            </a:xfrm>
            <a:custGeom>
              <a:avLst/>
              <a:gdLst>
                <a:gd name="T0" fmla="*/ 51 w 55"/>
                <a:gd name="T1" fmla="*/ 0 h 37"/>
                <a:gd name="T2" fmla="*/ 31 w 55"/>
                <a:gd name="T3" fmla="*/ 33 h 37"/>
                <a:gd name="T4" fmla="*/ 0 w 55"/>
                <a:gd name="T5" fmla="*/ 33 h 37"/>
                <a:gd name="T6" fmla="*/ 0 w 55"/>
                <a:gd name="T7" fmla="*/ 37 h 37"/>
                <a:gd name="T8" fmla="*/ 34 w 55"/>
                <a:gd name="T9" fmla="*/ 37 h 37"/>
                <a:gd name="T10" fmla="*/ 55 w 55"/>
                <a:gd name="T11" fmla="*/ 3 h 37"/>
                <a:gd name="T12" fmla="*/ 51 w 55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37">
                  <a:moveTo>
                    <a:pt x="51" y="0"/>
                  </a:moveTo>
                  <a:lnTo>
                    <a:pt x="31" y="33"/>
                  </a:lnTo>
                  <a:lnTo>
                    <a:pt x="0" y="33"/>
                  </a:lnTo>
                  <a:lnTo>
                    <a:pt x="0" y="37"/>
                  </a:lnTo>
                  <a:lnTo>
                    <a:pt x="34" y="37"/>
                  </a:lnTo>
                  <a:lnTo>
                    <a:pt x="55" y="3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Rectangle 741">
              <a:extLst>
                <a:ext uri="{FF2B5EF4-FFF2-40B4-BE49-F238E27FC236}">
                  <a16:creationId xmlns:a16="http://schemas.microsoft.com/office/drawing/2014/main" id="{9457DAB0-2FE4-1AD4-B631-A91FF1142F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2451" y="4867275"/>
              <a:ext cx="3651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 742">
              <a:extLst>
                <a:ext uri="{FF2B5EF4-FFF2-40B4-BE49-F238E27FC236}">
                  <a16:creationId xmlns:a16="http://schemas.microsoft.com/office/drawing/2014/main" id="{9B113086-3A18-0215-7B82-4982BA2B4A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2138" y="4598988"/>
              <a:ext cx="160338" cy="160338"/>
            </a:xfrm>
            <a:custGeom>
              <a:avLst/>
              <a:gdLst>
                <a:gd name="T0" fmla="*/ 767 w 784"/>
                <a:gd name="T1" fmla="*/ 391 h 783"/>
                <a:gd name="T2" fmla="*/ 751 w 784"/>
                <a:gd name="T3" fmla="*/ 391 h 783"/>
                <a:gd name="T4" fmla="*/ 646 w 784"/>
                <a:gd name="T5" fmla="*/ 645 h 783"/>
                <a:gd name="T6" fmla="*/ 392 w 784"/>
                <a:gd name="T7" fmla="*/ 750 h 783"/>
                <a:gd name="T8" fmla="*/ 139 w 784"/>
                <a:gd name="T9" fmla="*/ 645 h 783"/>
                <a:gd name="T10" fmla="*/ 34 w 784"/>
                <a:gd name="T11" fmla="*/ 391 h 783"/>
                <a:gd name="T12" fmla="*/ 139 w 784"/>
                <a:gd name="T13" fmla="*/ 138 h 783"/>
                <a:gd name="T14" fmla="*/ 392 w 784"/>
                <a:gd name="T15" fmla="*/ 33 h 783"/>
                <a:gd name="T16" fmla="*/ 646 w 784"/>
                <a:gd name="T17" fmla="*/ 138 h 783"/>
                <a:gd name="T18" fmla="*/ 751 w 784"/>
                <a:gd name="T19" fmla="*/ 391 h 783"/>
                <a:gd name="T20" fmla="*/ 767 w 784"/>
                <a:gd name="T21" fmla="*/ 391 h 783"/>
                <a:gd name="T22" fmla="*/ 784 w 784"/>
                <a:gd name="T23" fmla="*/ 391 h 783"/>
                <a:gd name="T24" fmla="*/ 392 w 784"/>
                <a:gd name="T25" fmla="*/ 0 h 783"/>
                <a:gd name="T26" fmla="*/ 0 w 784"/>
                <a:gd name="T27" fmla="*/ 391 h 783"/>
                <a:gd name="T28" fmla="*/ 392 w 784"/>
                <a:gd name="T29" fmla="*/ 783 h 783"/>
                <a:gd name="T30" fmla="*/ 784 w 784"/>
                <a:gd name="T31" fmla="*/ 391 h 783"/>
                <a:gd name="T32" fmla="*/ 767 w 784"/>
                <a:gd name="T33" fmla="*/ 391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4" h="783">
                  <a:moveTo>
                    <a:pt x="767" y="391"/>
                  </a:moveTo>
                  <a:lnTo>
                    <a:pt x="751" y="391"/>
                  </a:lnTo>
                  <a:cubicBezTo>
                    <a:pt x="751" y="490"/>
                    <a:pt x="711" y="580"/>
                    <a:pt x="646" y="645"/>
                  </a:cubicBezTo>
                  <a:cubicBezTo>
                    <a:pt x="581" y="710"/>
                    <a:pt x="491" y="750"/>
                    <a:pt x="392" y="750"/>
                  </a:cubicBezTo>
                  <a:cubicBezTo>
                    <a:pt x="293" y="750"/>
                    <a:pt x="204" y="710"/>
                    <a:pt x="139" y="645"/>
                  </a:cubicBezTo>
                  <a:cubicBezTo>
                    <a:pt x="74" y="580"/>
                    <a:pt x="34" y="490"/>
                    <a:pt x="34" y="391"/>
                  </a:cubicBezTo>
                  <a:cubicBezTo>
                    <a:pt x="34" y="292"/>
                    <a:pt x="74" y="203"/>
                    <a:pt x="139" y="138"/>
                  </a:cubicBezTo>
                  <a:cubicBezTo>
                    <a:pt x="204" y="73"/>
                    <a:pt x="293" y="33"/>
                    <a:pt x="392" y="33"/>
                  </a:cubicBezTo>
                  <a:cubicBezTo>
                    <a:pt x="491" y="33"/>
                    <a:pt x="581" y="73"/>
                    <a:pt x="646" y="138"/>
                  </a:cubicBezTo>
                  <a:cubicBezTo>
                    <a:pt x="711" y="203"/>
                    <a:pt x="751" y="292"/>
                    <a:pt x="751" y="391"/>
                  </a:cubicBezTo>
                  <a:lnTo>
                    <a:pt x="767" y="391"/>
                  </a:lnTo>
                  <a:lnTo>
                    <a:pt x="784" y="391"/>
                  </a:lnTo>
                  <a:cubicBezTo>
                    <a:pt x="784" y="175"/>
                    <a:pt x="609" y="0"/>
                    <a:pt x="392" y="0"/>
                  </a:cubicBezTo>
                  <a:cubicBezTo>
                    <a:pt x="176" y="0"/>
                    <a:pt x="0" y="175"/>
                    <a:pt x="0" y="391"/>
                  </a:cubicBezTo>
                  <a:cubicBezTo>
                    <a:pt x="0" y="608"/>
                    <a:pt x="176" y="783"/>
                    <a:pt x="392" y="783"/>
                  </a:cubicBezTo>
                  <a:cubicBezTo>
                    <a:pt x="609" y="783"/>
                    <a:pt x="784" y="608"/>
                    <a:pt x="784" y="391"/>
                  </a:cubicBezTo>
                  <a:lnTo>
                    <a:pt x="767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 743">
              <a:extLst>
                <a:ext uri="{FF2B5EF4-FFF2-40B4-BE49-F238E27FC236}">
                  <a16:creationId xmlns:a16="http://schemas.microsoft.com/office/drawing/2014/main" id="{874F721C-B049-B9B9-F50B-E1FD883E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513" y="4679950"/>
              <a:ext cx="160338" cy="160338"/>
            </a:xfrm>
            <a:custGeom>
              <a:avLst/>
              <a:gdLst>
                <a:gd name="T0" fmla="*/ 204 w 784"/>
                <a:gd name="T1" fmla="*/ 67 h 784"/>
                <a:gd name="T2" fmla="*/ 213 w 784"/>
                <a:gd name="T3" fmla="*/ 81 h 784"/>
                <a:gd name="T4" fmla="*/ 391 w 784"/>
                <a:gd name="T5" fmla="*/ 33 h 784"/>
                <a:gd name="T6" fmla="*/ 702 w 784"/>
                <a:gd name="T7" fmla="*/ 213 h 784"/>
                <a:gd name="T8" fmla="*/ 750 w 784"/>
                <a:gd name="T9" fmla="*/ 392 h 784"/>
                <a:gd name="T10" fmla="*/ 571 w 784"/>
                <a:gd name="T11" fmla="*/ 702 h 784"/>
                <a:gd name="T12" fmla="*/ 392 w 784"/>
                <a:gd name="T13" fmla="*/ 750 h 784"/>
                <a:gd name="T14" fmla="*/ 81 w 784"/>
                <a:gd name="T15" fmla="*/ 571 h 784"/>
                <a:gd name="T16" fmla="*/ 33 w 784"/>
                <a:gd name="T17" fmla="*/ 392 h 784"/>
                <a:gd name="T18" fmla="*/ 213 w 784"/>
                <a:gd name="T19" fmla="*/ 81 h 784"/>
                <a:gd name="T20" fmla="*/ 204 w 784"/>
                <a:gd name="T21" fmla="*/ 67 h 784"/>
                <a:gd name="T22" fmla="*/ 196 w 784"/>
                <a:gd name="T23" fmla="*/ 53 h 784"/>
                <a:gd name="T24" fmla="*/ 0 w 784"/>
                <a:gd name="T25" fmla="*/ 392 h 784"/>
                <a:gd name="T26" fmla="*/ 52 w 784"/>
                <a:gd name="T27" fmla="*/ 588 h 784"/>
                <a:gd name="T28" fmla="*/ 392 w 784"/>
                <a:gd name="T29" fmla="*/ 784 h 784"/>
                <a:gd name="T30" fmla="*/ 588 w 784"/>
                <a:gd name="T31" fmla="*/ 731 h 784"/>
                <a:gd name="T32" fmla="*/ 784 w 784"/>
                <a:gd name="T33" fmla="*/ 392 h 784"/>
                <a:gd name="T34" fmla="*/ 731 w 784"/>
                <a:gd name="T35" fmla="*/ 196 h 784"/>
                <a:gd name="T36" fmla="*/ 391 w 784"/>
                <a:gd name="T37" fmla="*/ 0 h 784"/>
                <a:gd name="T38" fmla="*/ 196 w 784"/>
                <a:gd name="T39" fmla="*/ 53 h 784"/>
                <a:gd name="T40" fmla="*/ 204 w 784"/>
                <a:gd name="T41" fmla="*/ 67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4" h="784">
                  <a:moveTo>
                    <a:pt x="204" y="67"/>
                  </a:moveTo>
                  <a:lnTo>
                    <a:pt x="213" y="81"/>
                  </a:lnTo>
                  <a:cubicBezTo>
                    <a:pt x="269" y="49"/>
                    <a:pt x="331" y="33"/>
                    <a:pt x="391" y="33"/>
                  </a:cubicBezTo>
                  <a:cubicBezTo>
                    <a:pt x="515" y="33"/>
                    <a:pt x="636" y="98"/>
                    <a:pt x="702" y="213"/>
                  </a:cubicBezTo>
                  <a:cubicBezTo>
                    <a:pt x="735" y="269"/>
                    <a:pt x="750" y="331"/>
                    <a:pt x="750" y="392"/>
                  </a:cubicBezTo>
                  <a:cubicBezTo>
                    <a:pt x="750" y="516"/>
                    <a:pt x="686" y="636"/>
                    <a:pt x="571" y="702"/>
                  </a:cubicBezTo>
                  <a:cubicBezTo>
                    <a:pt x="515" y="735"/>
                    <a:pt x="453" y="750"/>
                    <a:pt x="392" y="750"/>
                  </a:cubicBezTo>
                  <a:cubicBezTo>
                    <a:pt x="268" y="750"/>
                    <a:pt x="148" y="686"/>
                    <a:pt x="81" y="571"/>
                  </a:cubicBezTo>
                  <a:cubicBezTo>
                    <a:pt x="49" y="515"/>
                    <a:pt x="33" y="453"/>
                    <a:pt x="33" y="392"/>
                  </a:cubicBezTo>
                  <a:cubicBezTo>
                    <a:pt x="33" y="268"/>
                    <a:pt x="97" y="148"/>
                    <a:pt x="213" y="81"/>
                  </a:cubicBezTo>
                  <a:lnTo>
                    <a:pt x="204" y="67"/>
                  </a:lnTo>
                  <a:lnTo>
                    <a:pt x="196" y="53"/>
                  </a:lnTo>
                  <a:cubicBezTo>
                    <a:pt x="70" y="125"/>
                    <a:pt x="0" y="257"/>
                    <a:pt x="0" y="392"/>
                  </a:cubicBezTo>
                  <a:cubicBezTo>
                    <a:pt x="0" y="459"/>
                    <a:pt x="17" y="526"/>
                    <a:pt x="52" y="588"/>
                  </a:cubicBezTo>
                  <a:cubicBezTo>
                    <a:pt x="125" y="714"/>
                    <a:pt x="257" y="784"/>
                    <a:pt x="392" y="784"/>
                  </a:cubicBezTo>
                  <a:cubicBezTo>
                    <a:pt x="459" y="784"/>
                    <a:pt x="526" y="767"/>
                    <a:pt x="588" y="731"/>
                  </a:cubicBezTo>
                  <a:cubicBezTo>
                    <a:pt x="713" y="659"/>
                    <a:pt x="784" y="527"/>
                    <a:pt x="784" y="392"/>
                  </a:cubicBezTo>
                  <a:cubicBezTo>
                    <a:pt x="784" y="325"/>
                    <a:pt x="767" y="258"/>
                    <a:pt x="731" y="196"/>
                  </a:cubicBezTo>
                  <a:cubicBezTo>
                    <a:pt x="659" y="70"/>
                    <a:pt x="527" y="0"/>
                    <a:pt x="391" y="0"/>
                  </a:cubicBezTo>
                  <a:cubicBezTo>
                    <a:pt x="325" y="0"/>
                    <a:pt x="258" y="17"/>
                    <a:pt x="196" y="53"/>
                  </a:cubicBezTo>
                  <a:lnTo>
                    <a:pt x="204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 744">
              <a:extLst>
                <a:ext uri="{FF2B5EF4-FFF2-40B4-BE49-F238E27FC236}">
                  <a16:creationId xmlns:a16="http://schemas.microsoft.com/office/drawing/2014/main" id="{1860B570-E3E6-67F1-8B76-C751EF51E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76" y="4679950"/>
              <a:ext cx="160338" cy="160338"/>
            </a:xfrm>
            <a:custGeom>
              <a:avLst/>
              <a:gdLst>
                <a:gd name="T0" fmla="*/ 205 w 784"/>
                <a:gd name="T1" fmla="*/ 717 h 784"/>
                <a:gd name="T2" fmla="*/ 213 w 784"/>
                <a:gd name="T3" fmla="*/ 702 h 784"/>
                <a:gd name="T4" fmla="*/ 34 w 784"/>
                <a:gd name="T5" fmla="*/ 392 h 784"/>
                <a:gd name="T6" fmla="*/ 82 w 784"/>
                <a:gd name="T7" fmla="*/ 213 h 784"/>
                <a:gd name="T8" fmla="*/ 393 w 784"/>
                <a:gd name="T9" fmla="*/ 33 h 784"/>
                <a:gd name="T10" fmla="*/ 572 w 784"/>
                <a:gd name="T11" fmla="*/ 81 h 784"/>
                <a:gd name="T12" fmla="*/ 751 w 784"/>
                <a:gd name="T13" fmla="*/ 392 h 784"/>
                <a:gd name="T14" fmla="*/ 703 w 784"/>
                <a:gd name="T15" fmla="*/ 571 h 784"/>
                <a:gd name="T16" fmla="*/ 392 w 784"/>
                <a:gd name="T17" fmla="*/ 750 h 784"/>
                <a:gd name="T18" fmla="*/ 213 w 784"/>
                <a:gd name="T19" fmla="*/ 702 h 784"/>
                <a:gd name="T20" fmla="*/ 205 w 784"/>
                <a:gd name="T21" fmla="*/ 717 h 784"/>
                <a:gd name="T22" fmla="*/ 197 w 784"/>
                <a:gd name="T23" fmla="*/ 731 h 784"/>
                <a:gd name="T24" fmla="*/ 392 w 784"/>
                <a:gd name="T25" fmla="*/ 784 h 784"/>
                <a:gd name="T26" fmla="*/ 732 w 784"/>
                <a:gd name="T27" fmla="*/ 588 h 784"/>
                <a:gd name="T28" fmla="*/ 784 w 784"/>
                <a:gd name="T29" fmla="*/ 392 h 784"/>
                <a:gd name="T30" fmla="*/ 588 w 784"/>
                <a:gd name="T31" fmla="*/ 53 h 784"/>
                <a:gd name="T32" fmla="*/ 393 w 784"/>
                <a:gd name="T33" fmla="*/ 0 h 784"/>
                <a:gd name="T34" fmla="*/ 53 w 784"/>
                <a:gd name="T35" fmla="*/ 196 h 784"/>
                <a:gd name="T36" fmla="*/ 1 w 784"/>
                <a:gd name="T37" fmla="*/ 392 h 784"/>
                <a:gd name="T38" fmla="*/ 197 w 784"/>
                <a:gd name="T39" fmla="*/ 731 h 784"/>
                <a:gd name="T40" fmla="*/ 205 w 784"/>
                <a:gd name="T41" fmla="*/ 717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4" h="784">
                  <a:moveTo>
                    <a:pt x="205" y="717"/>
                  </a:moveTo>
                  <a:lnTo>
                    <a:pt x="213" y="702"/>
                  </a:lnTo>
                  <a:cubicBezTo>
                    <a:pt x="98" y="636"/>
                    <a:pt x="34" y="515"/>
                    <a:pt x="34" y="392"/>
                  </a:cubicBezTo>
                  <a:cubicBezTo>
                    <a:pt x="34" y="331"/>
                    <a:pt x="49" y="269"/>
                    <a:pt x="82" y="213"/>
                  </a:cubicBezTo>
                  <a:cubicBezTo>
                    <a:pt x="148" y="98"/>
                    <a:pt x="269" y="33"/>
                    <a:pt x="393" y="33"/>
                  </a:cubicBezTo>
                  <a:cubicBezTo>
                    <a:pt x="454" y="33"/>
                    <a:pt x="515" y="49"/>
                    <a:pt x="572" y="81"/>
                  </a:cubicBezTo>
                  <a:cubicBezTo>
                    <a:pt x="687" y="148"/>
                    <a:pt x="751" y="268"/>
                    <a:pt x="751" y="392"/>
                  </a:cubicBezTo>
                  <a:cubicBezTo>
                    <a:pt x="751" y="453"/>
                    <a:pt x="736" y="515"/>
                    <a:pt x="703" y="571"/>
                  </a:cubicBezTo>
                  <a:cubicBezTo>
                    <a:pt x="637" y="686"/>
                    <a:pt x="516" y="750"/>
                    <a:pt x="392" y="750"/>
                  </a:cubicBezTo>
                  <a:cubicBezTo>
                    <a:pt x="331" y="750"/>
                    <a:pt x="270" y="735"/>
                    <a:pt x="213" y="702"/>
                  </a:cubicBezTo>
                  <a:lnTo>
                    <a:pt x="205" y="717"/>
                  </a:lnTo>
                  <a:lnTo>
                    <a:pt x="197" y="731"/>
                  </a:lnTo>
                  <a:cubicBezTo>
                    <a:pt x="258" y="767"/>
                    <a:pt x="326" y="784"/>
                    <a:pt x="392" y="784"/>
                  </a:cubicBezTo>
                  <a:cubicBezTo>
                    <a:pt x="527" y="784"/>
                    <a:pt x="659" y="714"/>
                    <a:pt x="732" y="588"/>
                  </a:cubicBezTo>
                  <a:cubicBezTo>
                    <a:pt x="767" y="526"/>
                    <a:pt x="784" y="459"/>
                    <a:pt x="784" y="392"/>
                  </a:cubicBezTo>
                  <a:cubicBezTo>
                    <a:pt x="784" y="257"/>
                    <a:pt x="714" y="125"/>
                    <a:pt x="588" y="53"/>
                  </a:cubicBezTo>
                  <a:cubicBezTo>
                    <a:pt x="527" y="17"/>
                    <a:pt x="459" y="0"/>
                    <a:pt x="393" y="0"/>
                  </a:cubicBezTo>
                  <a:cubicBezTo>
                    <a:pt x="257" y="0"/>
                    <a:pt x="126" y="70"/>
                    <a:pt x="53" y="196"/>
                  </a:cubicBezTo>
                  <a:cubicBezTo>
                    <a:pt x="17" y="258"/>
                    <a:pt x="1" y="325"/>
                    <a:pt x="1" y="392"/>
                  </a:cubicBezTo>
                  <a:cubicBezTo>
                    <a:pt x="0" y="527"/>
                    <a:pt x="71" y="659"/>
                    <a:pt x="197" y="731"/>
                  </a:cubicBezTo>
                  <a:lnTo>
                    <a:pt x="205" y="7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Rectangle 745">
              <a:extLst>
                <a:ext uri="{FF2B5EF4-FFF2-40B4-BE49-F238E27FC236}">
                  <a16:creationId xmlns:a16="http://schemas.microsoft.com/office/drawing/2014/main" id="{2C667FB8-F9EF-92C3-12EC-50EFE2D643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5001" y="4633913"/>
              <a:ext cx="3651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Rectangle 746">
              <a:extLst>
                <a:ext uri="{FF2B5EF4-FFF2-40B4-BE49-F238E27FC236}">
                  <a16:creationId xmlns:a16="http://schemas.microsoft.com/office/drawing/2014/main" id="{F3C0F8E5-F73E-5002-2C6A-D1708B25AB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5001" y="4651375"/>
              <a:ext cx="3651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Rectangle 747">
              <a:extLst>
                <a:ext uri="{FF2B5EF4-FFF2-40B4-BE49-F238E27FC236}">
                  <a16:creationId xmlns:a16="http://schemas.microsoft.com/office/drawing/2014/main" id="{2A0CDFBE-8395-DCA5-420C-A30183364E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1838" y="4757738"/>
              <a:ext cx="36513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Rectangle 748">
              <a:extLst>
                <a:ext uri="{FF2B5EF4-FFF2-40B4-BE49-F238E27FC236}">
                  <a16:creationId xmlns:a16="http://schemas.microsoft.com/office/drawing/2014/main" id="{32A9E304-C1A4-D24F-BA07-3C9D4628A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1838" y="4776788"/>
              <a:ext cx="3651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Rectangle 749">
              <a:extLst>
                <a:ext uri="{FF2B5EF4-FFF2-40B4-BE49-F238E27FC236}">
                  <a16:creationId xmlns:a16="http://schemas.microsoft.com/office/drawing/2014/main" id="{FED382FB-5738-A810-E6F3-EF282A870C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2613" y="4757738"/>
              <a:ext cx="3492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Rectangle 750">
              <a:extLst>
                <a:ext uri="{FF2B5EF4-FFF2-40B4-BE49-F238E27FC236}">
                  <a16:creationId xmlns:a16="http://schemas.microsoft.com/office/drawing/2014/main" id="{DCDCE2CB-DA85-FBFF-A809-7853C82CC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2613" y="4776788"/>
              <a:ext cx="34925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5146" name="Transfe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97148D2-20BB-2ADB-3FFE-F596792D33C5}"/>
              </a:ext>
            </a:extLst>
          </p:cNvPr>
          <p:cNvGrpSpPr>
            <a:grpSpLocks noChangeAspect="1"/>
          </p:cNvGrpSpPr>
          <p:nvPr/>
        </p:nvGrpSpPr>
        <p:grpSpPr>
          <a:xfrm>
            <a:off x="1907704" y="1124744"/>
            <a:ext cx="1443784" cy="1650910"/>
            <a:chOff x="8088314" y="3941763"/>
            <a:chExt cx="376237" cy="430213"/>
          </a:xfrm>
          <a:solidFill>
            <a:schemeClr val="accent1"/>
          </a:solidFill>
        </p:grpSpPr>
        <p:sp>
          <p:nvSpPr>
            <p:cNvPr id="5147" name="Freeform 471">
              <a:extLst>
                <a:ext uri="{FF2B5EF4-FFF2-40B4-BE49-F238E27FC236}">
                  <a16:creationId xmlns:a16="http://schemas.microsoft.com/office/drawing/2014/main" id="{E08524E4-A8F7-FCF5-3238-D6C4DE9C74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88314" y="3941763"/>
              <a:ext cx="292100" cy="311150"/>
            </a:xfrm>
            <a:custGeom>
              <a:avLst/>
              <a:gdLst>
                <a:gd name="T0" fmla="*/ 206 w 320"/>
                <a:gd name="T1" fmla="*/ 56 h 340"/>
                <a:gd name="T2" fmla="*/ 72 w 320"/>
                <a:gd name="T3" fmla="*/ 119 h 340"/>
                <a:gd name="T4" fmla="*/ 53 w 320"/>
                <a:gd name="T5" fmla="*/ 320 h 340"/>
                <a:gd name="T6" fmla="*/ 71 w 320"/>
                <a:gd name="T7" fmla="*/ 309 h 340"/>
                <a:gd name="T8" fmla="*/ 88 w 320"/>
                <a:gd name="T9" fmla="*/ 132 h 340"/>
                <a:gd name="T10" fmla="*/ 242 w 320"/>
                <a:gd name="T11" fmla="*/ 81 h 340"/>
                <a:gd name="T12" fmla="*/ 264 w 320"/>
                <a:gd name="T13" fmla="*/ 87 h 340"/>
                <a:gd name="T14" fmla="*/ 217 w 320"/>
                <a:gd name="T15" fmla="*/ 106 h 340"/>
                <a:gd name="T16" fmla="*/ 226 w 320"/>
                <a:gd name="T17" fmla="*/ 126 h 340"/>
                <a:gd name="T18" fmla="*/ 300 w 320"/>
                <a:gd name="T19" fmla="*/ 94 h 340"/>
                <a:gd name="T20" fmla="*/ 269 w 320"/>
                <a:gd name="T21" fmla="*/ 20 h 340"/>
                <a:gd name="T22" fmla="*/ 250 w 320"/>
                <a:gd name="T23" fmla="*/ 28 h 340"/>
                <a:gd name="T24" fmla="*/ 266 w 320"/>
                <a:gd name="T25" fmla="*/ 66 h 340"/>
                <a:gd name="T26" fmla="*/ 251 w 320"/>
                <a:gd name="T27" fmla="*/ 62 h 340"/>
                <a:gd name="T28" fmla="*/ 206 w 320"/>
                <a:gd name="T29" fmla="*/ 56 h 340"/>
                <a:gd name="T30" fmla="*/ 48 w 320"/>
                <a:gd name="T31" fmla="*/ 340 h 340"/>
                <a:gd name="T32" fmla="*/ 45 w 320"/>
                <a:gd name="T33" fmla="*/ 334 h 340"/>
                <a:gd name="T34" fmla="*/ 61 w 320"/>
                <a:gd name="T35" fmla="*/ 109 h 340"/>
                <a:gd name="T36" fmla="*/ 241 w 320"/>
                <a:gd name="T37" fmla="*/ 45 h 340"/>
                <a:gd name="T38" fmla="*/ 231 w 320"/>
                <a:gd name="T39" fmla="*/ 20 h 340"/>
                <a:gd name="T40" fmla="*/ 277 w 320"/>
                <a:gd name="T41" fmla="*/ 0 h 340"/>
                <a:gd name="T42" fmla="*/ 320 w 320"/>
                <a:gd name="T43" fmla="*/ 102 h 340"/>
                <a:gd name="T44" fmla="*/ 218 w 320"/>
                <a:gd name="T45" fmla="*/ 145 h 340"/>
                <a:gd name="T46" fmla="*/ 198 w 320"/>
                <a:gd name="T47" fmla="*/ 98 h 340"/>
                <a:gd name="T48" fmla="*/ 213 w 320"/>
                <a:gd name="T49" fmla="*/ 92 h 340"/>
                <a:gd name="T50" fmla="*/ 99 w 320"/>
                <a:gd name="T51" fmla="*/ 142 h 340"/>
                <a:gd name="T52" fmla="*/ 87 w 320"/>
                <a:gd name="T53" fmla="*/ 307 h 340"/>
                <a:gd name="T54" fmla="*/ 91 w 320"/>
                <a:gd name="T55" fmla="*/ 313 h 340"/>
                <a:gd name="T56" fmla="*/ 48 w 320"/>
                <a:gd name="T57" fmla="*/ 3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0" h="340">
                  <a:moveTo>
                    <a:pt x="206" y="56"/>
                  </a:moveTo>
                  <a:cubicBezTo>
                    <a:pt x="155" y="56"/>
                    <a:pt x="106" y="78"/>
                    <a:pt x="72" y="119"/>
                  </a:cubicBezTo>
                  <a:cubicBezTo>
                    <a:pt x="24" y="176"/>
                    <a:pt x="17" y="256"/>
                    <a:pt x="53" y="320"/>
                  </a:cubicBezTo>
                  <a:lnTo>
                    <a:pt x="71" y="309"/>
                  </a:lnTo>
                  <a:cubicBezTo>
                    <a:pt x="39" y="252"/>
                    <a:pt x="46" y="182"/>
                    <a:pt x="88" y="132"/>
                  </a:cubicBezTo>
                  <a:cubicBezTo>
                    <a:pt x="126" y="88"/>
                    <a:pt x="185" y="68"/>
                    <a:pt x="242" y="81"/>
                  </a:cubicBezTo>
                  <a:lnTo>
                    <a:pt x="264" y="87"/>
                  </a:lnTo>
                  <a:lnTo>
                    <a:pt x="217" y="106"/>
                  </a:lnTo>
                  <a:lnTo>
                    <a:pt x="226" y="126"/>
                  </a:lnTo>
                  <a:lnTo>
                    <a:pt x="300" y="94"/>
                  </a:lnTo>
                  <a:lnTo>
                    <a:pt x="269" y="20"/>
                  </a:lnTo>
                  <a:lnTo>
                    <a:pt x="250" y="28"/>
                  </a:lnTo>
                  <a:lnTo>
                    <a:pt x="266" y="66"/>
                  </a:lnTo>
                  <a:lnTo>
                    <a:pt x="251" y="62"/>
                  </a:lnTo>
                  <a:cubicBezTo>
                    <a:pt x="236" y="58"/>
                    <a:pt x="221" y="56"/>
                    <a:pt x="206" y="56"/>
                  </a:cubicBezTo>
                  <a:close/>
                  <a:moveTo>
                    <a:pt x="48" y="340"/>
                  </a:moveTo>
                  <a:lnTo>
                    <a:pt x="45" y="334"/>
                  </a:lnTo>
                  <a:cubicBezTo>
                    <a:pt x="0" y="263"/>
                    <a:pt x="7" y="173"/>
                    <a:pt x="61" y="109"/>
                  </a:cubicBezTo>
                  <a:cubicBezTo>
                    <a:pt x="106" y="56"/>
                    <a:pt x="174" y="32"/>
                    <a:pt x="241" y="45"/>
                  </a:cubicBezTo>
                  <a:lnTo>
                    <a:pt x="231" y="20"/>
                  </a:lnTo>
                  <a:lnTo>
                    <a:pt x="277" y="0"/>
                  </a:lnTo>
                  <a:lnTo>
                    <a:pt x="320" y="102"/>
                  </a:lnTo>
                  <a:lnTo>
                    <a:pt x="218" y="145"/>
                  </a:lnTo>
                  <a:lnTo>
                    <a:pt x="198" y="98"/>
                  </a:lnTo>
                  <a:lnTo>
                    <a:pt x="213" y="92"/>
                  </a:lnTo>
                  <a:cubicBezTo>
                    <a:pt x="170" y="90"/>
                    <a:pt x="128" y="108"/>
                    <a:pt x="99" y="142"/>
                  </a:cubicBezTo>
                  <a:cubicBezTo>
                    <a:pt x="60" y="189"/>
                    <a:pt x="55" y="255"/>
                    <a:pt x="87" y="307"/>
                  </a:cubicBezTo>
                  <a:lnTo>
                    <a:pt x="91" y="313"/>
                  </a:lnTo>
                  <a:lnTo>
                    <a:pt x="48" y="34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48" name="Freeform 472">
              <a:extLst>
                <a:ext uri="{FF2B5EF4-FFF2-40B4-BE49-F238E27FC236}">
                  <a16:creationId xmlns:a16="http://schemas.microsoft.com/office/drawing/2014/main" id="{B59B4B0F-9F4B-F247-E03A-CE85C5693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5151" y="4056063"/>
              <a:ext cx="279400" cy="315913"/>
            </a:xfrm>
            <a:custGeom>
              <a:avLst/>
              <a:gdLst>
                <a:gd name="T0" fmla="*/ 20 w 307"/>
                <a:gd name="T1" fmla="*/ 256 h 346"/>
                <a:gd name="T2" fmla="*/ 62 w 307"/>
                <a:gd name="T3" fmla="*/ 326 h 346"/>
                <a:gd name="T4" fmla="*/ 80 w 307"/>
                <a:gd name="T5" fmla="*/ 315 h 346"/>
                <a:gd name="T6" fmla="*/ 59 w 307"/>
                <a:gd name="T7" fmla="*/ 280 h 346"/>
                <a:gd name="T8" fmla="*/ 74 w 307"/>
                <a:gd name="T9" fmla="*/ 282 h 346"/>
                <a:gd name="T10" fmla="*/ 235 w 307"/>
                <a:gd name="T11" fmla="*/ 222 h 346"/>
                <a:gd name="T12" fmla="*/ 254 w 307"/>
                <a:gd name="T13" fmla="*/ 20 h 346"/>
                <a:gd name="T14" fmla="*/ 236 w 307"/>
                <a:gd name="T15" fmla="*/ 32 h 346"/>
                <a:gd name="T16" fmla="*/ 219 w 307"/>
                <a:gd name="T17" fmla="*/ 208 h 346"/>
                <a:gd name="T18" fmla="*/ 79 w 307"/>
                <a:gd name="T19" fmla="*/ 261 h 346"/>
                <a:gd name="T20" fmla="*/ 58 w 307"/>
                <a:gd name="T21" fmla="*/ 258 h 346"/>
                <a:gd name="T22" fmla="*/ 101 w 307"/>
                <a:gd name="T23" fmla="*/ 233 h 346"/>
                <a:gd name="T24" fmla="*/ 90 w 307"/>
                <a:gd name="T25" fmla="*/ 215 h 346"/>
                <a:gd name="T26" fmla="*/ 20 w 307"/>
                <a:gd name="T27" fmla="*/ 256 h 346"/>
                <a:gd name="T28" fmla="*/ 57 w 307"/>
                <a:gd name="T29" fmla="*/ 346 h 346"/>
                <a:gd name="T30" fmla="*/ 0 w 307"/>
                <a:gd name="T31" fmla="*/ 251 h 346"/>
                <a:gd name="T32" fmla="*/ 95 w 307"/>
                <a:gd name="T33" fmla="*/ 195 h 346"/>
                <a:gd name="T34" fmla="*/ 121 w 307"/>
                <a:gd name="T35" fmla="*/ 238 h 346"/>
                <a:gd name="T36" fmla="*/ 103 w 307"/>
                <a:gd name="T37" fmla="*/ 248 h 346"/>
                <a:gd name="T38" fmla="*/ 208 w 307"/>
                <a:gd name="T39" fmla="*/ 198 h 346"/>
                <a:gd name="T40" fmla="*/ 220 w 307"/>
                <a:gd name="T41" fmla="*/ 33 h 346"/>
                <a:gd name="T42" fmla="*/ 216 w 307"/>
                <a:gd name="T43" fmla="*/ 27 h 346"/>
                <a:gd name="T44" fmla="*/ 259 w 307"/>
                <a:gd name="T45" fmla="*/ 0 h 346"/>
                <a:gd name="T46" fmla="*/ 263 w 307"/>
                <a:gd name="T47" fmla="*/ 6 h 346"/>
                <a:gd name="T48" fmla="*/ 247 w 307"/>
                <a:gd name="T49" fmla="*/ 231 h 346"/>
                <a:gd name="T50" fmla="*/ 87 w 307"/>
                <a:gd name="T51" fmla="*/ 298 h 346"/>
                <a:gd name="T52" fmla="*/ 100 w 307"/>
                <a:gd name="T53" fmla="*/ 320 h 346"/>
                <a:gd name="T54" fmla="*/ 57 w 307"/>
                <a:gd name="T55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7" h="346">
                  <a:moveTo>
                    <a:pt x="20" y="256"/>
                  </a:moveTo>
                  <a:lnTo>
                    <a:pt x="62" y="326"/>
                  </a:lnTo>
                  <a:lnTo>
                    <a:pt x="80" y="315"/>
                  </a:lnTo>
                  <a:lnTo>
                    <a:pt x="59" y="280"/>
                  </a:lnTo>
                  <a:lnTo>
                    <a:pt x="74" y="282"/>
                  </a:lnTo>
                  <a:cubicBezTo>
                    <a:pt x="136" y="292"/>
                    <a:pt x="196" y="268"/>
                    <a:pt x="235" y="222"/>
                  </a:cubicBezTo>
                  <a:cubicBezTo>
                    <a:pt x="284" y="165"/>
                    <a:pt x="291" y="85"/>
                    <a:pt x="254" y="20"/>
                  </a:cubicBezTo>
                  <a:lnTo>
                    <a:pt x="236" y="32"/>
                  </a:lnTo>
                  <a:cubicBezTo>
                    <a:pt x="268" y="88"/>
                    <a:pt x="261" y="158"/>
                    <a:pt x="219" y="208"/>
                  </a:cubicBezTo>
                  <a:cubicBezTo>
                    <a:pt x="184" y="249"/>
                    <a:pt x="132" y="269"/>
                    <a:pt x="79" y="261"/>
                  </a:cubicBezTo>
                  <a:lnTo>
                    <a:pt x="58" y="258"/>
                  </a:lnTo>
                  <a:lnTo>
                    <a:pt x="101" y="233"/>
                  </a:lnTo>
                  <a:lnTo>
                    <a:pt x="90" y="215"/>
                  </a:lnTo>
                  <a:lnTo>
                    <a:pt x="20" y="256"/>
                  </a:lnTo>
                  <a:close/>
                  <a:moveTo>
                    <a:pt x="57" y="346"/>
                  </a:moveTo>
                  <a:lnTo>
                    <a:pt x="0" y="251"/>
                  </a:lnTo>
                  <a:lnTo>
                    <a:pt x="95" y="195"/>
                  </a:lnTo>
                  <a:lnTo>
                    <a:pt x="121" y="238"/>
                  </a:lnTo>
                  <a:lnTo>
                    <a:pt x="103" y="248"/>
                  </a:lnTo>
                  <a:cubicBezTo>
                    <a:pt x="144" y="248"/>
                    <a:pt x="181" y="230"/>
                    <a:pt x="208" y="198"/>
                  </a:cubicBezTo>
                  <a:cubicBezTo>
                    <a:pt x="248" y="152"/>
                    <a:pt x="252" y="85"/>
                    <a:pt x="220" y="33"/>
                  </a:cubicBezTo>
                  <a:lnTo>
                    <a:pt x="216" y="27"/>
                  </a:lnTo>
                  <a:lnTo>
                    <a:pt x="259" y="0"/>
                  </a:lnTo>
                  <a:lnTo>
                    <a:pt x="263" y="6"/>
                  </a:lnTo>
                  <a:cubicBezTo>
                    <a:pt x="307" y="77"/>
                    <a:pt x="300" y="167"/>
                    <a:pt x="247" y="231"/>
                  </a:cubicBezTo>
                  <a:cubicBezTo>
                    <a:pt x="207" y="278"/>
                    <a:pt x="149" y="303"/>
                    <a:pt x="87" y="298"/>
                  </a:cubicBezTo>
                  <a:lnTo>
                    <a:pt x="100" y="320"/>
                  </a:lnTo>
                  <a:lnTo>
                    <a:pt x="57" y="346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652642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971600" y="980728"/>
            <a:ext cx="5400600" cy="5122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O </a:t>
            </a:r>
            <a:r>
              <a:rPr lang="en-US" sz="2000" dirty="0" err="1">
                <a:latin typeface="Gotham HTF Light"/>
                <a:cs typeface="Gotham HTF Light"/>
              </a:rPr>
              <a:t>Diagrama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sequência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Elementos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Básicos</a:t>
            </a:r>
            <a:endParaRPr lang="en-US" sz="2000" dirty="0">
              <a:latin typeface="Gotham HTF Light"/>
              <a:cs typeface="Gotham HTF Light"/>
            </a:endParaRP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Notação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Objet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Tipos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mensagen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Tempo das </a:t>
            </a:r>
            <a:r>
              <a:rPr lang="en-US" sz="2000" dirty="0" err="1">
                <a:latin typeface="Gotham HTF Light"/>
                <a:cs typeface="Gotham HTF Light"/>
              </a:rPr>
              <a:t>mesagen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Objetos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Compost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Criação</a:t>
            </a:r>
            <a:r>
              <a:rPr lang="en-US" sz="2000" dirty="0">
                <a:latin typeface="Gotham HTF Light"/>
                <a:cs typeface="Gotham HTF Light"/>
              </a:rPr>
              <a:t> e </a:t>
            </a:r>
            <a:r>
              <a:rPr lang="en-US" sz="2000" dirty="0" err="1">
                <a:latin typeface="Gotham HTF Light"/>
                <a:cs typeface="Gotham HTF Light"/>
              </a:rPr>
              <a:t>destruição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objet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Tempos de </a:t>
            </a:r>
            <a:r>
              <a:rPr lang="en-US" sz="2000" dirty="0" err="1">
                <a:latin typeface="Gotham HTF Light"/>
                <a:cs typeface="Gotham HTF Light"/>
              </a:rPr>
              <a:t>atividades</a:t>
            </a:r>
            <a:r>
              <a:rPr lang="en-US" sz="2000" dirty="0">
                <a:latin typeface="Gotham HTF Light"/>
                <a:cs typeface="Gotham HTF Light"/>
              </a:rPr>
              <a:t> dos </a:t>
            </a:r>
            <a:r>
              <a:rPr lang="en-US" sz="2000" dirty="0" err="1">
                <a:latin typeface="Gotham HTF Light"/>
                <a:cs typeface="Gotham HTF Light"/>
              </a:rPr>
              <a:t>objet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Retornos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mesagen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Exempl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Exercíci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</p:txBody>
      </p:sp>
      <p:pic>
        <p:nvPicPr>
          <p:cNvPr id="12" name="Google Shape;82;p18">
            <a:extLst>
              <a:ext uri="{FF2B5EF4-FFF2-40B4-BE49-F238E27FC236}">
                <a16:creationId xmlns:a16="http://schemas.microsoft.com/office/drawing/2014/main" id="{DD7806E3-D3CC-7A66-90E1-2AA63080526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364488" y="1341168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181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9" name="Picture 2">
            <a:extLst>
              <a:ext uri="{FF2B5EF4-FFF2-40B4-BE49-F238E27FC236}">
                <a16:creationId xmlns:a16="http://schemas.microsoft.com/office/drawing/2014/main" id="{78768175-5C81-7816-3766-D1295F3118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38" t="44353" r="63477" b="26292"/>
          <a:stretch>
            <a:fillRect/>
          </a:stretch>
        </p:blipFill>
        <p:spPr bwMode="auto">
          <a:xfrm>
            <a:off x="1532160" y="1371240"/>
            <a:ext cx="6079680" cy="4115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F6A1BF3C-F49B-6DBD-192C-39FC8313F99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77D9EC98-F62C-614C-18BA-11DC17F1BD6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6EB2951-F064-631D-681F-EB2501AC9F96}"/>
              </a:ext>
            </a:extLst>
          </p:cNvPr>
          <p:cNvGrpSpPr/>
          <p:nvPr/>
        </p:nvGrpSpPr>
        <p:grpSpPr>
          <a:xfrm>
            <a:off x="251520" y="980728"/>
            <a:ext cx="4177665" cy="1203912"/>
            <a:chOff x="351805" y="980728"/>
            <a:chExt cx="4177665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75DEA294-B377-D61B-9AE2-C1D4DB21D362}"/>
                </a:ext>
              </a:extLst>
            </p:cNvPr>
            <p:cNvSpPr/>
            <p:nvPr/>
          </p:nvSpPr>
          <p:spPr>
            <a:xfrm>
              <a:off x="1349051" y="980728"/>
              <a:ext cx="3180419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A seta também pode estar numa posição oblíqua para indicar que a mensagem consome tempo.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4B2F063D-F00A-96A0-9122-7164FB57C05D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14165BA4-1437-E443-5A36-44FC81E0F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E2473C24-B2BD-F04E-59DB-B6EB0E7C4DC4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77D9EC98-F62C-614C-18BA-11DC17F1BD6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6EB2951-F064-631D-681F-EB2501AC9F96}"/>
              </a:ext>
            </a:extLst>
          </p:cNvPr>
          <p:cNvGrpSpPr/>
          <p:nvPr/>
        </p:nvGrpSpPr>
        <p:grpSpPr>
          <a:xfrm>
            <a:off x="251520" y="980728"/>
            <a:ext cx="4177665" cy="1203912"/>
            <a:chOff x="351805" y="980728"/>
            <a:chExt cx="4177665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75DEA294-B377-D61B-9AE2-C1D4DB21D362}"/>
                </a:ext>
              </a:extLst>
            </p:cNvPr>
            <p:cNvSpPr/>
            <p:nvPr/>
          </p:nvSpPr>
          <p:spPr>
            <a:xfrm>
              <a:off x="1349051" y="980728"/>
              <a:ext cx="3180419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A seta também pode estar numa posição oblíqua para indicar que a mensagem consome tempo.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4B2F063D-F00A-96A0-9122-7164FB57C05D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14165BA4-1437-E443-5A36-44FC81E0F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E2473C24-B2BD-F04E-59DB-B6EB0E7C4DC4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443E757C-EFB8-CE0B-C0EF-7674B3A17898}"/>
              </a:ext>
            </a:extLst>
          </p:cNvPr>
          <p:cNvGrpSpPr/>
          <p:nvPr/>
        </p:nvGrpSpPr>
        <p:grpSpPr>
          <a:xfrm>
            <a:off x="4788024" y="980728"/>
            <a:ext cx="4177665" cy="1203912"/>
            <a:chOff x="4673016" y="980728"/>
            <a:chExt cx="4177665" cy="120391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09C5DC1-56C3-E220-38E5-0B470F00837A}"/>
                </a:ext>
              </a:extLst>
            </p:cNvPr>
            <p:cNvSpPr/>
            <p:nvPr/>
          </p:nvSpPr>
          <p:spPr>
            <a:xfrm>
              <a:off x="5670262" y="980728"/>
              <a:ext cx="3180419" cy="120391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Representam atrasos de transmissão que não são desprezáveis à dinâmica do conjunto 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D844D1A-E771-50C3-DFA1-F48F569CEB9F}"/>
                </a:ext>
              </a:extLst>
            </p:cNvPr>
            <p:cNvSpPr/>
            <p:nvPr/>
          </p:nvSpPr>
          <p:spPr>
            <a:xfrm>
              <a:off x="5457427" y="980728"/>
              <a:ext cx="212834" cy="120391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9AA796E-C80C-A3B4-4F3D-BF329942A0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3016" y="1270957"/>
              <a:ext cx="623455" cy="62345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F317DE1-62FF-951C-66C9-AEF68D8DC4F9}"/>
                </a:ext>
              </a:extLst>
            </p:cNvPr>
            <p:cNvCxnSpPr>
              <a:cxnSpLocks/>
              <a:stCxn id="13" idx="6"/>
              <a:endCxn id="12" idx="1"/>
            </p:cNvCxnSpPr>
            <p:nvPr/>
          </p:nvCxnSpPr>
          <p:spPr>
            <a:xfrm flipV="1">
              <a:off x="5296470" y="1582684"/>
              <a:ext cx="160956" cy="1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807847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77D9EC98-F62C-614C-18BA-11DC17F1BD6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6EB2951-F064-631D-681F-EB2501AC9F96}"/>
              </a:ext>
            </a:extLst>
          </p:cNvPr>
          <p:cNvGrpSpPr/>
          <p:nvPr/>
        </p:nvGrpSpPr>
        <p:grpSpPr>
          <a:xfrm>
            <a:off x="251520" y="980728"/>
            <a:ext cx="4177665" cy="1203912"/>
            <a:chOff x="351805" y="980728"/>
            <a:chExt cx="4177665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75DEA294-B377-D61B-9AE2-C1D4DB21D362}"/>
                </a:ext>
              </a:extLst>
            </p:cNvPr>
            <p:cNvSpPr/>
            <p:nvPr/>
          </p:nvSpPr>
          <p:spPr>
            <a:xfrm>
              <a:off x="1349051" y="980728"/>
              <a:ext cx="3180419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A seta também pode estar numa posição oblíqua para indicar que a mensagem consome tempo.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4B2F063D-F00A-96A0-9122-7164FB57C05D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14165BA4-1437-E443-5A36-44FC81E0F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E2473C24-B2BD-F04E-59DB-B6EB0E7C4DC4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443E757C-EFB8-CE0B-C0EF-7674B3A17898}"/>
              </a:ext>
            </a:extLst>
          </p:cNvPr>
          <p:cNvGrpSpPr/>
          <p:nvPr/>
        </p:nvGrpSpPr>
        <p:grpSpPr>
          <a:xfrm>
            <a:off x="4788024" y="980728"/>
            <a:ext cx="4177665" cy="1203912"/>
            <a:chOff x="4673016" y="980728"/>
            <a:chExt cx="4177665" cy="120391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09C5DC1-56C3-E220-38E5-0B470F00837A}"/>
                </a:ext>
              </a:extLst>
            </p:cNvPr>
            <p:cNvSpPr/>
            <p:nvPr/>
          </p:nvSpPr>
          <p:spPr>
            <a:xfrm>
              <a:off x="5670262" y="980728"/>
              <a:ext cx="3180419" cy="120391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Representam atrasos de transmissão que não são desprezáveis à dinâmica do conjunto 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D844D1A-E771-50C3-DFA1-F48F569CEB9F}"/>
                </a:ext>
              </a:extLst>
            </p:cNvPr>
            <p:cNvSpPr/>
            <p:nvPr/>
          </p:nvSpPr>
          <p:spPr>
            <a:xfrm>
              <a:off x="5457427" y="980728"/>
              <a:ext cx="212834" cy="120391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9AA796E-C80C-A3B4-4F3D-BF329942A0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3016" y="1270957"/>
              <a:ext cx="623455" cy="62345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F317DE1-62FF-951C-66C9-AEF68D8DC4F9}"/>
                </a:ext>
              </a:extLst>
            </p:cNvPr>
            <p:cNvCxnSpPr>
              <a:cxnSpLocks/>
              <a:stCxn id="13" idx="6"/>
              <a:endCxn id="12" idx="1"/>
            </p:cNvCxnSpPr>
            <p:nvPr/>
          </p:nvCxnSpPr>
          <p:spPr>
            <a:xfrm flipV="1">
              <a:off x="5296470" y="1582684"/>
              <a:ext cx="160956" cy="1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2">
            <a:extLst>
              <a:ext uri="{FF2B5EF4-FFF2-40B4-BE49-F238E27FC236}">
                <a16:creationId xmlns:a16="http://schemas.microsoft.com/office/drawing/2014/main" id="{F86F8E68-7D99-E6D4-22E5-47E008CD82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2" t="41512" r="61774" b="30838"/>
          <a:stretch>
            <a:fillRect/>
          </a:stretch>
        </p:blipFill>
        <p:spPr bwMode="auto">
          <a:xfrm>
            <a:off x="35496" y="2777861"/>
            <a:ext cx="5617440" cy="3375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864551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77D9EC98-F62C-614C-18BA-11DC17F1BD6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6EB2951-F064-631D-681F-EB2501AC9F96}"/>
              </a:ext>
            </a:extLst>
          </p:cNvPr>
          <p:cNvGrpSpPr/>
          <p:nvPr/>
        </p:nvGrpSpPr>
        <p:grpSpPr>
          <a:xfrm>
            <a:off x="251520" y="980728"/>
            <a:ext cx="4177665" cy="1203912"/>
            <a:chOff x="351805" y="980728"/>
            <a:chExt cx="4177665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75DEA294-B377-D61B-9AE2-C1D4DB21D362}"/>
                </a:ext>
              </a:extLst>
            </p:cNvPr>
            <p:cNvSpPr/>
            <p:nvPr/>
          </p:nvSpPr>
          <p:spPr>
            <a:xfrm>
              <a:off x="1349051" y="980728"/>
              <a:ext cx="3180419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A seta também pode estar numa posição oblíqua para indicar que a mensagem consome tempo.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4B2F063D-F00A-96A0-9122-7164FB57C05D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14165BA4-1437-E443-5A36-44FC81E0F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E2473C24-B2BD-F04E-59DB-B6EB0E7C4DC4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443E757C-EFB8-CE0B-C0EF-7674B3A17898}"/>
              </a:ext>
            </a:extLst>
          </p:cNvPr>
          <p:cNvGrpSpPr/>
          <p:nvPr/>
        </p:nvGrpSpPr>
        <p:grpSpPr>
          <a:xfrm>
            <a:off x="4788024" y="980728"/>
            <a:ext cx="4177665" cy="1203912"/>
            <a:chOff x="4673016" y="980728"/>
            <a:chExt cx="4177665" cy="120391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09C5DC1-56C3-E220-38E5-0B470F00837A}"/>
                </a:ext>
              </a:extLst>
            </p:cNvPr>
            <p:cNvSpPr/>
            <p:nvPr/>
          </p:nvSpPr>
          <p:spPr>
            <a:xfrm>
              <a:off x="5670262" y="980728"/>
              <a:ext cx="3180419" cy="120391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Representam atrasos de transmissão que não são desprezáveis à dinâmica do conjunto 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D844D1A-E771-50C3-DFA1-F48F569CEB9F}"/>
                </a:ext>
              </a:extLst>
            </p:cNvPr>
            <p:cNvSpPr/>
            <p:nvPr/>
          </p:nvSpPr>
          <p:spPr>
            <a:xfrm>
              <a:off x="5457427" y="980728"/>
              <a:ext cx="212834" cy="120391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9AA796E-C80C-A3B4-4F3D-BF329942A0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3016" y="1270957"/>
              <a:ext cx="623455" cy="62345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F317DE1-62FF-951C-66C9-AEF68D8DC4F9}"/>
                </a:ext>
              </a:extLst>
            </p:cNvPr>
            <p:cNvCxnSpPr>
              <a:cxnSpLocks/>
              <a:stCxn id="13" idx="6"/>
              <a:endCxn id="12" idx="1"/>
            </p:cNvCxnSpPr>
            <p:nvPr/>
          </p:nvCxnSpPr>
          <p:spPr>
            <a:xfrm flipV="1">
              <a:off x="5296470" y="1582684"/>
              <a:ext cx="160956" cy="1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2">
            <a:extLst>
              <a:ext uri="{FF2B5EF4-FFF2-40B4-BE49-F238E27FC236}">
                <a16:creationId xmlns:a16="http://schemas.microsoft.com/office/drawing/2014/main" id="{F86F8E68-7D99-E6D4-22E5-47E008CD82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2" t="41512" r="61774" b="30838"/>
          <a:stretch>
            <a:fillRect/>
          </a:stretch>
        </p:blipFill>
        <p:spPr bwMode="auto">
          <a:xfrm>
            <a:off x="35496" y="2777861"/>
            <a:ext cx="5617440" cy="3375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7" name="Agrupar 26">
            <a:extLst>
              <a:ext uri="{FF2B5EF4-FFF2-40B4-BE49-F238E27FC236}">
                <a16:creationId xmlns:a16="http://schemas.microsoft.com/office/drawing/2014/main" id="{05654A7C-2D7C-075A-3FC1-F7A06FF5D5E3}"/>
              </a:ext>
            </a:extLst>
          </p:cNvPr>
          <p:cNvGrpSpPr/>
          <p:nvPr/>
        </p:nvGrpSpPr>
        <p:grpSpPr>
          <a:xfrm>
            <a:off x="4788024" y="4249208"/>
            <a:ext cx="4177665" cy="1218583"/>
            <a:chOff x="4938157" y="4249208"/>
            <a:chExt cx="4177665" cy="1218583"/>
          </a:xfrm>
        </p:grpSpPr>
        <p:sp>
          <p:nvSpPr>
            <p:cNvPr id="21" name="Retângulo 2">
              <a:extLst>
                <a:ext uri="{FF2B5EF4-FFF2-40B4-BE49-F238E27FC236}">
                  <a16:creationId xmlns:a16="http://schemas.microsoft.com/office/drawing/2014/main" id="{AEB44925-E9F9-22C6-3721-F76ABDE5C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1773" y="5022861"/>
              <a:ext cx="2938134" cy="4449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pt-BR" altLang="pt-BR" sz="2177" dirty="0"/>
                <a:t>.</a:t>
              </a:r>
            </a:p>
          </p:txBody>
        </p:sp>
        <p:sp>
          <p:nvSpPr>
            <p:cNvPr id="22" name="Rectangle 6">
              <a:extLst>
                <a:ext uri="{FF2B5EF4-FFF2-40B4-BE49-F238E27FC236}">
                  <a16:creationId xmlns:a16="http://schemas.microsoft.com/office/drawing/2014/main" id="{ACD18B31-F93B-14D8-0FBF-694E6597F4BF}"/>
                </a:ext>
              </a:extLst>
            </p:cNvPr>
            <p:cNvSpPr/>
            <p:nvPr/>
          </p:nvSpPr>
          <p:spPr>
            <a:xfrm>
              <a:off x="5935403" y="4249208"/>
              <a:ext cx="3180419" cy="120391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Mensagem consumindo tempo em atraso. </a:t>
              </a:r>
            </a:p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As duas notações são possíveis</a:t>
              </a:r>
              <a:endParaRPr lang="pt-BR" sz="2000" b="1" dirty="0">
                <a:solidFill>
                  <a:schemeClr val="tx1"/>
                </a:solidFill>
                <a:latin typeface="Gotham HTF"/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27B16220-8C45-958D-FD46-EBC69C52BC58}"/>
                </a:ext>
              </a:extLst>
            </p:cNvPr>
            <p:cNvSpPr/>
            <p:nvPr/>
          </p:nvSpPr>
          <p:spPr>
            <a:xfrm>
              <a:off x="5722568" y="4249208"/>
              <a:ext cx="212834" cy="1203912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" name="Oval 8">
              <a:extLst>
                <a:ext uri="{FF2B5EF4-FFF2-40B4-BE49-F238E27FC236}">
                  <a16:creationId xmlns:a16="http://schemas.microsoft.com/office/drawing/2014/main" id="{1BB055A6-1E3C-B17C-53AD-9BA8C45E9F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38157" y="4539437"/>
              <a:ext cx="623455" cy="62345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25" name="Straight Connector 9">
              <a:extLst>
                <a:ext uri="{FF2B5EF4-FFF2-40B4-BE49-F238E27FC236}">
                  <a16:creationId xmlns:a16="http://schemas.microsoft.com/office/drawing/2014/main" id="{F0BAC13E-A04E-34B5-8D0B-7332349412FC}"/>
                </a:ext>
              </a:extLst>
            </p:cNvPr>
            <p:cNvCxnSpPr>
              <a:stCxn id="24" idx="6"/>
              <a:endCxn id="23" idx="1"/>
            </p:cNvCxnSpPr>
            <p:nvPr/>
          </p:nvCxnSpPr>
          <p:spPr>
            <a:xfrm flipV="1">
              <a:off x="5561612" y="4851164"/>
              <a:ext cx="160956" cy="1"/>
            </a:xfrm>
            <a:prstGeom prst="line">
              <a:avLst/>
            </a:prstGeom>
            <a:ln w="571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5851281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16A0261-B841-65C3-9537-43A9ED0FB3E7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2BD9EA54-A917-38CB-1E82-33EFF9850513}"/>
              </a:ext>
            </a:extLst>
          </p:cNvPr>
          <p:cNvGrpSpPr/>
          <p:nvPr/>
        </p:nvGrpSpPr>
        <p:grpSpPr>
          <a:xfrm>
            <a:off x="251520" y="980728"/>
            <a:ext cx="8496944" cy="1203912"/>
            <a:chOff x="351805" y="980728"/>
            <a:chExt cx="8496944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0CCEB4EE-7D21-E1F2-595D-9C588862E365}"/>
                </a:ext>
              </a:extLst>
            </p:cNvPr>
            <p:cNvSpPr/>
            <p:nvPr/>
          </p:nvSpPr>
          <p:spPr>
            <a:xfrm>
              <a:off x="1349051" y="980728"/>
              <a:ext cx="7499698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Mensagem Reflexiva ou </a:t>
              </a:r>
              <a:r>
                <a:rPr lang="pt-BR" sz="2000" dirty="0" err="1">
                  <a:solidFill>
                    <a:schemeClr val="tx1"/>
                  </a:solidFill>
                  <a:latin typeface="Gotham HTF"/>
                </a:rPr>
                <a:t>Autodelegação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: É quando o objeto envia uma mensagem para ele mesmo. 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F9F254A5-328D-5CBC-41B7-168C3A5BEE4A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EB245D25-EAB6-0760-44DF-96A8C1956C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2787DAFF-5D78-CC26-B728-F60AEFF27517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3" name="Picture 2">
            <a:extLst>
              <a:ext uri="{FF2B5EF4-FFF2-40B4-BE49-F238E27FC236}">
                <a16:creationId xmlns:a16="http://schemas.microsoft.com/office/drawing/2014/main" id="{5EF7C86D-5760-288C-4749-F1E069230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57" t="42836" r="20564" b="31973"/>
          <a:stretch>
            <a:fillRect/>
          </a:stretch>
        </p:blipFill>
        <p:spPr bwMode="auto">
          <a:xfrm>
            <a:off x="2057040" y="2654520"/>
            <a:ext cx="5029920" cy="293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D16A0261-B841-65C3-9537-43A9ED0FB3E7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2BD9EA54-A917-38CB-1E82-33EFF9850513}"/>
              </a:ext>
            </a:extLst>
          </p:cNvPr>
          <p:cNvGrpSpPr/>
          <p:nvPr/>
        </p:nvGrpSpPr>
        <p:grpSpPr>
          <a:xfrm>
            <a:off x="251520" y="980728"/>
            <a:ext cx="8496944" cy="1203912"/>
            <a:chOff x="351805" y="980728"/>
            <a:chExt cx="8496944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0CCEB4EE-7D21-E1F2-595D-9C588862E365}"/>
                </a:ext>
              </a:extLst>
            </p:cNvPr>
            <p:cNvSpPr/>
            <p:nvPr/>
          </p:nvSpPr>
          <p:spPr>
            <a:xfrm>
              <a:off x="1349051" y="980728"/>
              <a:ext cx="7499698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Mensagem Reflexiva ou </a:t>
              </a:r>
              <a:r>
                <a:rPr lang="pt-BR" sz="2000" dirty="0" err="1">
                  <a:solidFill>
                    <a:schemeClr val="tx1"/>
                  </a:solidFill>
                  <a:latin typeface="Gotham HTF"/>
                </a:rPr>
                <a:t>Autodelegação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: É quando o objeto envia uma mensagem para ele mesmo. 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F9F254A5-328D-5CBC-41B7-168C3A5BEE4A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EB245D25-EAB6-0760-44DF-96A8C1956C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2787DAFF-5D78-CC26-B728-F60AEFF27517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7385093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1" name="Picture 2">
            <a:extLst>
              <a:ext uri="{FF2B5EF4-FFF2-40B4-BE49-F238E27FC236}">
                <a16:creationId xmlns:a16="http://schemas.microsoft.com/office/drawing/2014/main" id="{531323DB-F60D-2547-8ADB-DD5456F165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0" t="38480" r="57832" b="30760"/>
          <a:stretch>
            <a:fillRect/>
          </a:stretch>
        </p:blipFill>
        <p:spPr bwMode="auto">
          <a:xfrm>
            <a:off x="990000" y="1621800"/>
            <a:ext cx="7164000" cy="36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A5D822D3-E4C7-BED9-9CD9-B7325997635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bjetos Compos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9" name="Picture 2">
            <a:extLst>
              <a:ext uri="{FF2B5EF4-FFF2-40B4-BE49-F238E27FC236}">
                <a16:creationId xmlns:a16="http://schemas.microsoft.com/office/drawing/2014/main" id="{38E2FFA1-CD3D-5E75-7321-43AD23E0E0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922" t="37534" r="22523" b="35951"/>
          <a:stretch>
            <a:fillRect/>
          </a:stretch>
        </p:blipFill>
        <p:spPr bwMode="auto">
          <a:xfrm>
            <a:off x="1370881" y="1991881"/>
            <a:ext cx="5487840" cy="3330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AF86E9D9-2C95-40DE-1CA2-F7F9EAC794C8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riação e destruição de obje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7F18D78-FD1A-51AB-B37C-AF5A0CE8979D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88761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7F18D78-FD1A-51AB-B37C-AF5A0CE8979D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BF707B5E-01EC-1378-B0F9-1677EF0720D9}"/>
              </a:ext>
            </a:extLst>
          </p:cNvPr>
          <p:cNvGrpSpPr/>
          <p:nvPr/>
        </p:nvGrpSpPr>
        <p:grpSpPr>
          <a:xfrm>
            <a:off x="395536" y="1922324"/>
            <a:ext cx="1962592" cy="3013351"/>
            <a:chOff x="1120102" y="1442744"/>
            <a:chExt cx="2616789" cy="4017801"/>
          </a:xfrm>
        </p:grpSpPr>
        <p:sp>
          <p:nvSpPr>
            <p:cNvPr id="6" name="Rectangle 24">
              <a:extLst>
                <a:ext uri="{FF2B5EF4-FFF2-40B4-BE49-F238E27FC236}">
                  <a16:creationId xmlns:a16="http://schemas.microsoft.com/office/drawing/2014/main" id="{FAAD6DCE-6E8C-EBD6-A452-28A52088F9BE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 dirty="0">
                  <a:latin typeface="Gotham HTF"/>
                </a:rPr>
                <a:t>T</a:t>
              </a: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empo durante o qual um objeto exerce sua ação através de um objeto que lhe presta serviço </a:t>
              </a:r>
            </a:p>
          </p:txBody>
        </p:sp>
        <p:sp>
          <p:nvSpPr>
            <p:cNvPr id="7" name="Clipboard2">
              <a:extLst>
                <a:ext uri="{FF2B5EF4-FFF2-40B4-BE49-F238E27FC236}">
                  <a16:creationId xmlns:a16="http://schemas.microsoft.com/office/drawing/2014/main" id="{824EA8C1-53C4-E1DD-C6DC-1C048B02EF66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152520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7F18D78-FD1A-51AB-B37C-AF5A0CE8979D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BF707B5E-01EC-1378-B0F9-1677EF0720D9}"/>
              </a:ext>
            </a:extLst>
          </p:cNvPr>
          <p:cNvGrpSpPr/>
          <p:nvPr/>
        </p:nvGrpSpPr>
        <p:grpSpPr>
          <a:xfrm>
            <a:off x="395536" y="1922324"/>
            <a:ext cx="1962592" cy="3013351"/>
            <a:chOff x="1120102" y="1442744"/>
            <a:chExt cx="2616789" cy="4017801"/>
          </a:xfrm>
        </p:grpSpPr>
        <p:sp>
          <p:nvSpPr>
            <p:cNvPr id="6" name="Rectangle 24">
              <a:extLst>
                <a:ext uri="{FF2B5EF4-FFF2-40B4-BE49-F238E27FC236}">
                  <a16:creationId xmlns:a16="http://schemas.microsoft.com/office/drawing/2014/main" id="{FAAD6DCE-6E8C-EBD6-A452-28A52088F9BE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 dirty="0">
                  <a:latin typeface="Gotham HTF"/>
                </a:rPr>
                <a:t>T</a:t>
              </a: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empo durante o qual um objeto exerce sua ação através de um objeto que lhe presta serviço </a:t>
              </a:r>
            </a:p>
          </p:txBody>
        </p:sp>
        <p:sp>
          <p:nvSpPr>
            <p:cNvPr id="7" name="Clipboard2">
              <a:extLst>
                <a:ext uri="{FF2B5EF4-FFF2-40B4-BE49-F238E27FC236}">
                  <a16:creationId xmlns:a16="http://schemas.microsoft.com/office/drawing/2014/main" id="{824EA8C1-53C4-E1DD-C6DC-1C048B02EF66}"/>
                </a:ext>
              </a:extLst>
            </p:cNvPr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8" name="Group 16">
            <a:extLst>
              <a:ext uri="{FF2B5EF4-FFF2-40B4-BE49-F238E27FC236}">
                <a16:creationId xmlns:a16="http://schemas.microsoft.com/office/drawing/2014/main" id="{C85482F6-12F3-9103-81A3-261A15C874ED}"/>
              </a:ext>
            </a:extLst>
          </p:cNvPr>
          <p:cNvGrpSpPr/>
          <p:nvPr/>
        </p:nvGrpSpPr>
        <p:grpSpPr>
          <a:xfrm>
            <a:off x="3003288" y="1922324"/>
            <a:ext cx="1962592" cy="3013351"/>
            <a:chOff x="1120102" y="1442744"/>
            <a:chExt cx="2616789" cy="4017801"/>
          </a:xfrm>
        </p:grpSpPr>
        <p:sp>
          <p:nvSpPr>
            <p:cNvPr id="9" name="Rectangle 17">
              <a:extLst>
                <a:ext uri="{FF2B5EF4-FFF2-40B4-BE49-F238E27FC236}">
                  <a16:creationId xmlns:a16="http://schemas.microsoft.com/office/drawing/2014/main" id="{DD52F3DB-CC75-E5BC-C925-A3B020C59A05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2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A representação é dada por um retângulo cuja as bordas representam o período de atividade</a:t>
              </a:r>
            </a:p>
          </p:txBody>
        </p:sp>
        <p:sp>
          <p:nvSpPr>
            <p:cNvPr id="10" name="Clipboard2">
              <a:extLst>
                <a:ext uri="{FF2B5EF4-FFF2-40B4-BE49-F238E27FC236}">
                  <a16:creationId xmlns:a16="http://schemas.microsoft.com/office/drawing/2014/main" id="{3C54C256-ABC7-8A8C-53B7-CD3728F25C50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595425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7F18D78-FD1A-51AB-B37C-AF5A0CE8979D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BF707B5E-01EC-1378-B0F9-1677EF0720D9}"/>
              </a:ext>
            </a:extLst>
          </p:cNvPr>
          <p:cNvGrpSpPr/>
          <p:nvPr/>
        </p:nvGrpSpPr>
        <p:grpSpPr>
          <a:xfrm>
            <a:off x="395536" y="1922324"/>
            <a:ext cx="1962592" cy="3013351"/>
            <a:chOff x="1120102" y="1442744"/>
            <a:chExt cx="2616789" cy="4017801"/>
          </a:xfrm>
        </p:grpSpPr>
        <p:sp>
          <p:nvSpPr>
            <p:cNvPr id="6" name="Rectangle 24">
              <a:extLst>
                <a:ext uri="{FF2B5EF4-FFF2-40B4-BE49-F238E27FC236}">
                  <a16:creationId xmlns:a16="http://schemas.microsoft.com/office/drawing/2014/main" id="{FAAD6DCE-6E8C-EBD6-A452-28A52088F9BE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 dirty="0">
                  <a:latin typeface="Gotham HTF"/>
                </a:rPr>
                <a:t>T</a:t>
              </a: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empo durante o qual um objeto exerce sua ação através de um objeto que lhe presta serviço </a:t>
              </a:r>
            </a:p>
          </p:txBody>
        </p:sp>
        <p:sp>
          <p:nvSpPr>
            <p:cNvPr id="7" name="Clipboard2">
              <a:extLst>
                <a:ext uri="{FF2B5EF4-FFF2-40B4-BE49-F238E27FC236}">
                  <a16:creationId xmlns:a16="http://schemas.microsoft.com/office/drawing/2014/main" id="{824EA8C1-53C4-E1DD-C6DC-1C048B02EF66}"/>
                </a:ext>
              </a:extLst>
            </p:cNvPr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8" name="Group 16">
            <a:extLst>
              <a:ext uri="{FF2B5EF4-FFF2-40B4-BE49-F238E27FC236}">
                <a16:creationId xmlns:a16="http://schemas.microsoft.com/office/drawing/2014/main" id="{C85482F6-12F3-9103-81A3-261A15C874ED}"/>
              </a:ext>
            </a:extLst>
          </p:cNvPr>
          <p:cNvGrpSpPr/>
          <p:nvPr/>
        </p:nvGrpSpPr>
        <p:grpSpPr>
          <a:xfrm>
            <a:off x="3003288" y="1922324"/>
            <a:ext cx="1962592" cy="3013351"/>
            <a:chOff x="1120102" y="1442744"/>
            <a:chExt cx="2616789" cy="4017801"/>
          </a:xfrm>
        </p:grpSpPr>
        <p:sp>
          <p:nvSpPr>
            <p:cNvPr id="9" name="Rectangle 17">
              <a:extLst>
                <a:ext uri="{FF2B5EF4-FFF2-40B4-BE49-F238E27FC236}">
                  <a16:creationId xmlns:a16="http://schemas.microsoft.com/office/drawing/2014/main" id="{DD52F3DB-CC75-E5BC-C925-A3B020C59A05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2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A representação é dada por um retângulo cuja as bordas representam o período de atividade</a:t>
              </a:r>
            </a:p>
          </p:txBody>
        </p:sp>
        <p:sp>
          <p:nvSpPr>
            <p:cNvPr id="10" name="Clipboard2">
              <a:extLst>
                <a:ext uri="{FF2B5EF4-FFF2-40B4-BE49-F238E27FC236}">
                  <a16:creationId xmlns:a16="http://schemas.microsoft.com/office/drawing/2014/main" id="{3C54C256-ABC7-8A8C-53B7-CD3728F25C50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11" name="Picture 2">
            <a:extLst>
              <a:ext uri="{FF2B5EF4-FFF2-40B4-BE49-F238E27FC236}">
                <a16:creationId xmlns:a16="http://schemas.microsoft.com/office/drawing/2014/main" id="{24F80AE4-DA2E-F5A0-4237-1E0D9EDD0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99" t="42268" r="28976" b="23830"/>
          <a:stretch>
            <a:fillRect/>
          </a:stretch>
        </p:blipFill>
        <p:spPr bwMode="auto">
          <a:xfrm>
            <a:off x="5412148" y="1435457"/>
            <a:ext cx="3723840" cy="421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741898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3" name="Picture 2">
            <a:extLst>
              <a:ext uri="{FF2B5EF4-FFF2-40B4-BE49-F238E27FC236}">
                <a16:creationId xmlns:a16="http://schemas.microsoft.com/office/drawing/2014/main" id="{30AD66C5-D51D-B895-3EB8-6F8A6E203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26" t="39806" r="65181" b="28564"/>
          <a:stretch>
            <a:fillRect/>
          </a:stretch>
        </p:blipFill>
        <p:spPr bwMode="auto">
          <a:xfrm>
            <a:off x="1959120" y="1399320"/>
            <a:ext cx="5225760" cy="4059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6">
            <a:extLst>
              <a:ext uri="{FF2B5EF4-FFF2-40B4-BE49-F238E27FC236}">
                <a16:creationId xmlns:a16="http://schemas.microsoft.com/office/drawing/2014/main" id="{546E701C-9F23-82BF-24DE-B8801EFEDF73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torno de mensagen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torno de mensagens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BD8292CD-C848-5D61-87B1-E4C6EA766D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269" y="980728"/>
            <a:ext cx="4280220" cy="3164556"/>
          </a:xfrm>
          <a:prstGeom prst="rect">
            <a:avLst/>
          </a:prstGeom>
        </p:spPr>
      </p:pic>
      <p:grpSp>
        <p:nvGrpSpPr>
          <p:cNvPr id="9" name="Google Shape;1288;p41">
            <a:extLst>
              <a:ext uri="{FF2B5EF4-FFF2-40B4-BE49-F238E27FC236}">
                <a16:creationId xmlns:a16="http://schemas.microsoft.com/office/drawing/2014/main" id="{1DB46016-0448-8F1B-55E2-615F4F00A311}"/>
              </a:ext>
            </a:extLst>
          </p:cNvPr>
          <p:cNvGrpSpPr/>
          <p:nvPr/>
        </p:nvGrpSpPr>
        <p:grpSpPr>
          <a:xfrm>
            <a:off x="1468961" y="4293096"/>
            <a:ext cx="1238547" cy="1753424"/>
            <a:chOff x="2143125" y="1810163"/>
            <a:chExt cx="1333800" cy="1888275"/>
          </a:xfrm>
        </p:grpSpPr>
        <p:sp>
          <p:nvSpPr>
            <p:cNvPr id="10" name="Google Shape;1289;p41">
              <a:extLst>
                <a:ext uri="{FF2B5EF4-FFF2-40B4-BE49-F238E27FC236}">
                  <a16:creationId xmlns:a16="http://schemas.microsoft.com/office/drawing/2014/main" id="{FA45E8AF-CFCB-E911-9220-536AEAAC1AD3}"/>
                </a:ext>
              </a:extLst>
            </p:cNvPr>
            <p:cNvSpPr/>
            <p:nvPr/>
          </p:nvSpPr>
          <p:spPr>
            <a:xfrm>
              <a:off x="2197575" y="2750238"/>
              <a:ext cx="1113275" cy="948200"/>
            </a:xfrm>
            <a:custGeom>
              <a:avLst/>
              <a:gdLst/>
              <a:ahLst/>
              <a:cxnLst/>
              <a:rect l="l" t="t" r="r" b="b"/>
              <a:pathLst>
                <a:path w="44531" h="37928" extrusionOk="0">
                  <a:moveTo>
                    <a:pt x="22248" y="1"/>
                  </a:moveTo>
                  <a:cubicBezTo>
                    <a:pt x="16554" y="1"/>
                    <a:pt x="10859" y="1254"/>
                    <a:pt x="6514" y="3760"/>
                  </a:cubicBezTo>
                  <a:cubicBezTo>
                    <a:pt x="2454" y="6106"/>
                    <a:pt x="287" y="9142"/>
                    <a:pt x="25" y="12213"/>
                  </a:cubicBezTo>
                  <a:lnTo>
                    <a:pt x="1" y="12213"/>
                  </a:lnTo>
                  <a:lnTo>
                    <a:pt x="1" y="25072"/>
                  </a:lnTo>
                  <a:cubicBezTo>
                    <a:pt x="1" y="28370"/>
                    <a:pt x="2168" y="31656"/>
                    <a:pt x="6514" y="34168"/>
                  </a:cubicBezTo>
                  <a:cubicBezTo>
                    <a:pt x="10859" y="36675"/>
                    <a:pt x="16554" y="37928"/>
                    <a:pt x="22248" y="37928"/>
                  </a:cubicBezTo>
                  <a:cubicBezTo>
                    <a:pt x="27942" y="37928"/>
                    <a:pt x="33636" y="36675"/>
                    <a:pt x="37982" y="34168"/>
                  </a:cubicBezTo>
                  <a:cubicBezTo>
                    <a:pt x="42328" y="31656"/>
                    <a:pt x="44506" y="28370"/>
                    <a:pt x="44506" y="25072"/>
                  </a:cubicBezTo>
                  <a:lnTo>
                    <a:pt x="44530" y="25072"/>
                  </a:lnTo>
                  <a:lnTo>
                    <a:pt x="44530" y="12213"/>
                  </a:lnTo>
                  <a:lnTo>
                    <a:pt x="44483" y="12213"/>
                  </a:lnTo>
                  <a:cubicBezTo>
                    <a:pt x="44221" y="9142"/>
                    <a:pt x="42054" y="6106"/>
                    <a:pt x="37982" y="3760"/>
                  </a:cubicBezTo>
                  <a:cubicBezTo>
                    <a:pt x="33636" y="1254"/>
                    <a:pt x="27942" y="1"/>
                    <a:pt x="22248" y="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Google Shape;1290;p41">
              <a:extLst>
                <a:ext uri="{FF2B5EF4-FFF2-40B4-BE49-F238E27FC236}">
                  <a16:creationId xmlns:a16="http://schemas.microsoft.com/office/drawing/2014/main" id="{0B537DF6-92AC-BC32-B94C-0FEE9425E713}"/>
                </a:ext>
              </a:extLst>
            </p:cNvPr>
            <p:cNvSpPr/>
            <p:nvPr/>
          </p:nvSpPr>
          <p:spPr>
            <a:xfrm>
              <a:off x="2197275" y="3205888"/>
              <a:ext cx="1113575" cy="492550"/>
            </a:xfrm>
            <a:custGeom>
              <a:avLst/>
              <a:gdLst/>
              <a:ahLst/>
              <a:cxnLst/>
              <a:rect l="l" t="t" r="r" b="b"/>
              <a:pathLst>
                <a:path w="44543" h="19702" extrusionOk="0">
                  <a:moveTo>
                    <a:pt x="1" y="0"/>
                  </a:moveTo>
                  <a:lnTo>
                    <a:pt x="1" y="6846"/>
                  </a:lnTo>
                  <a:cubicBezTo>
                    <a:pt x="1" y="10144"/>
                    <a:pt x="2180" y="13430"/>
                    <a:pt x="6526" y="15942"/>
                  </a:cubicBezTo>
                  <a:cubicBezTo>
                    <a:pt x="10871" y="18449"/>
                    <a:pt x="16566" y="19702"/>
                    <a:pt x="22260" y="19702"/>
                  </a:cubicBezTo>
                  <a:cubicBezTo>
                    <a:pt x="27954" y="19702"/>
                    <a:pt x="33648" y="18449"/>
                    <a:pt x="37994" y="15942"/>
                  </a:cubicBezTo>
                  <a:cubicBezTo>
                    <a:pt x="42340" y="13430"/>
                    <a:pt x="44518" y="10144"/>
                    <a:pt x="44518" y="6846"/>
                  </a:cubicBezTo>
                  <a:lnTo>
                    <a:pt x="44542" y="6846"/>
                  </a:lnTo>
                  <a:lnTo>
                    <a:pt x="44542" y="0"/>
                  </a:lnTo>
                  <a:lnTo>
                    <a:pt x="44518" y="0"/>
                  </a:lnTo>
                  <a:cubicBezTo>
                    <a:pt x="44518" y="3286"/>
                    <a:pt x="42340" y="6584"/>
                    <a:pt x="37994" y="9084"/>
                  </a:cubicBezTo>
                  <a:cubicBezTo>
                    <a:pt x="33648" y="11597"/>
                    <a:pt x="27954" y="12853"/>
                    <a:pt x="22260" y="12853"/>
                  </a:cubicBezTo>
                  <a:cubicBezTo>
                    <a:pt x="16566" y="12853"/>
                    <a:pt x="10871" y="11597"/>
                    <a:pt x="6526" y="9084"/>
                  </a:cubicBezTo>
                  <a:cubicBezTo>
                    <a:pt x="2180" y="6584"/>
                    <a:pt x="1" y="3286"/>
                    <a:pt x="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Google Shape;1291;p41">
              <a:extLst>
                <a:ext uri="{FF2B5EF4-FFF2-40B4-BE49-F238E27FC236}">
                  <a16:creationId xmlns:a16="http://schemas.microsoft.com/office/drawing/2014/main" id="{9C5FA386-2198-28B3-47B2-5E917A648927}"/>
                </a:ext>
              </a:extLst>
            </p:cNvPr>
            <p:cNvSpPr/>
            <p:nvPr/>
          </p:nvSpPr>
          <p:spPr>
            <a:xfrm>
              <a:off x="2143125" y="2750238"/>
              <a:ext cx="1221300" cy="642450"/>
            </a:xfrm>
            <a:custGeom>
              <a:avLst/>
              <a:gdLst/>
              <a:ahLst/>
              <a:cxnLst/>
              <a:rect l="l" t="t" r="r" b="b"/>
              <a:pathLst>
                <a:path w="48852" h="25698" extrusionOk="0">
                  <a:moveTo>
                    <a:pt x="24426" y="1"/>
                  </a:moveTo>
                  <a:cubicBezTo>
                    <a:pt x="18732" y="1"/>
                    <a:pt x="13037" y="1254"/>
                    <a:pt x="8692" y="3760"/>
                  </a:cubicBezTo>
                  <a:cubicBezTo>
                    <a:pt x="0" y="8784"/>
                    <a:pt x="0" y="16916"/>
                    <a:pt x="8692" y="21929"/>
                  </a:cubicBezTo>
                  <a:cubicBezTo>
                    <a:pt x="13037" y="24441"/>
                    <a:pt x="18732" y="25697"/>
                    <a:pt x="24426" y="25697"/>
                  </a:cubicBezTo>
                  <a:cubicBezTo>
                    <a:pt x="30120" y="25697"/>
                    <a:pt x="35814" y="24441"/>
                    <a:pt x="40160" y="21929"/>
                  </a:cubicBezTo>
                  <a:cubicBezTo>
                    <a:pt x="48851" y="16916"/>
                    <a:pt x="48851" y="8784"/>
                    <a:pt x="40160" y="3760"/>
                  </a:cubicBezTo>
                  <a:cubicBezTo>
                    <a:pt x="35814" y="1254"/>
                    <a:pt x="30120" y="1"/>
                    <a:pt x="24426" y="1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Google Shape;1292;p41">
              <a:extLst>
                <a:ext uri="{FF2B5EF4-FFF2-40B4-BE49-F238E27FC236}">
                  <a16:creationId xmlns:a16="http://schemas.microsoft.com/office/drawing/2014/main" id="{7F89EB64-5814-FBCC-1261-695554DD5755}"/>
                </a:ext>
              </a:extLst>
            </p:cNvPr>
            <p:cNvSpPr/>
            <p:nvPr/>
          </p:nvSpPr>
          <p:spPr>
            <a:xfrm>
              <a:off x="2284800" y="2824588"/>
              <a:ext cx="938825" cy="493825"/>
            </a:xfrm>
            <a:custGeom>
              <a:avLst/>
              <a:gdLst/>
              <a:ahLst/>
              <a:cxnLst/>
              <a:rect l="l" t="t" r="r" b="b"/>
              <a:pathLst>
                <a:path w="37553" h="19753" extrusionOk="0">
                  <a:moveTo>
                    <a:pt x="18777" y="0"/>
                  </a:moveTo>
                  <a:cubicBezTo>
                    <a:pt x="14398" y="0"/>
                    <a:pt x="10019" y="965"/>
                    <a:pt x="6680" y="2893"/>
                  </a:cubicBezTo>
                  <a:cubicBezTo>
                    <a:pt x="0" y="6751"/>
                    <a:pt x="0" y="13002"/>
                    <a:pt x="6680" y="16859"/>
                  </a:cubicBezTo>
                  <a:cubicBezTo>
                    <a:pt x="10019" y="18788"/>
                    <a:pt x="14398" y="19753"/>
                    <a:pt x="18777" y="19753"/>
                  </a:cubicBezTo>
                  <a:cubicBezTo>
                    <a:pt x="23155" y="19753"/>
                    <a:pt x="27534" y="18788"/>
                    <a:pt x="30873" y="16859"/>
                  </a:cubicBezTo>
                  <a:cubicBezTo>
                    <a:pt x="37553" y="13002"/>
                    <a:pt x="37553" y="6751"/>
                    <a:pt x="30873" y="2893"/>
                  </a:cubicBezTo>
                  <a:cubicBezTo>
                    <a:pt x="27534" y="965"/>
                    <a:pt x="23155" y="0"/>
                    <a:pt x="187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Google Shape;1294;p41">
              <a:extLst>
                <a:ext uri="{FF2B5EF4-FFF2-40B4-BE49-F238E27FC236}">
                  <a16:creationId xmlns:a16="http://schemas.microsoft.com/office/drawing/2014/main" id="{835D3DC8-49AE-E010-776B-103F083B4E74}"/>
                </a:ext>
              </a:extLst>
            </p:cNvPr>
            <p:cNvSpPr/>
            <p:nvPr/>
          </p:nvSpPr>
          <p:spPr>
            <a:xfrm>
              <a:off x="2319025" y="2824588"/>
              <a:ext cx="870375" cy="264925"/>
            </a:xfrm>
            <a:custGeom>
              <a:avLst/>
              <a:gdLst/>
              <a:ahLst/>
              <a:cxnLst/>
              <a:rect l="l" t="t" r="r" b="b"/>
              <a:pathLst>
                <a:path w="34815" h="10597" extrusionOk="0">
                  <a:moveTo>
                    <a:pt x="17408" y="0"/>
                  </a:moveTo>
                  <a:cubicBezTo>
                    <a:pt x="13029" y="0"/>
                    <a:pt x="8650" y="965"/>
                    <a:pt x="5311" y="2893"/>
                  </a:cubicBezTo>
                  <a:cubicBezTo>
                    <a:pt x="1656" y="5001"/>
                    <a:pt x="1" y="7834"/>
                    <a:pt x="346" y="10597"/>
                  </a:cubicBezTo>
                  <a:cubicBezTo>
                    <a:pt x="644" y="8323"/>
                    <a:pt x="2287" y="6084"/>
                    <a:pt x="5311" y="4346"/>
                  </a:cubicBezTo>
                  <a:cubicBezTo>
                    <a:pt x="8650" y="2417"/>
                    <a:pt x="13029" y="1453"/>
                    <a:pt x="17408" y="1453"/>
                  </a:cubicBezTo>
                  <a:cubicBezTo>
                    <a:pt x="21786" y="1453"/>
                    <a:pt x="26165" y="2417"/>
                    <a:pt x="29504" y="4346"/>
                  </a:cubicBezTo>
                  <a:cubicBezTo>
                    <a:pt x="32517" y="6084"/>
                    <a:pt x="34172" y="8323"/>
                    <a:pt x="34457" y="10597"/>
                  </a:cubicBezTo>
                  <a:cubicBezTo>
                    <a:pt x="34814" y="7834"/>
                    <a:pt x="33160" y="5001"/>
                    <a:pt x="29504" y="2893"/>
                  </a:cubicBezTo>
                  <a:cubicBezTo>
                    <a:pt x="26165" y="965"/>
                    <a:pt x="21786" y="0"/>
                    <a:pt x="17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5" name="Google Shape;1295;p41">
              <a:extLst>
                <a:ext uri="{FF2B5EF4-FFF2-40B4-BE49-F238E27FC236}">
                  <a16:creationId xmlns:a16="http://schemas.microsoft.com/office/drawing/2014/main" id="{91BFD64D-FE5B-F8D9-A4FA-65317B5AADC8}"/>
                </a:ext>
              </a:extLst>
            </p:cNvPr>
            <p:cNvGrpSpPr/>
            <p:nvPr/>
          </p:nvGrpSpPr>
          <p:grpSpPr>
            <a:xfrm>
              <a:off x="2257700" y="1810163"/>
              <a:ext cx="1219225" cy="796250"/>
              <a:chOff x="2257700" y="1810163"/>
              <a:chExt cx="1219225" cy="796250"/>
            </a:xfrm>
          </p:grpSpPr>
          <p:sp>
            <p:nvSpPr>
              <p:cNvPr id="16" name="Google Shape;1296;p41">
                <a:extLst>
                  <a:ext uri="{FF2B5EF4-FFF2-40B4-BE49-F238E27FC236}">
                    <a16:creationId xmlns:a16="http://schemas.microsoft.com/office/drawing/2014/main" id="{DC74AF8B-5D7C-52E0-91EC-C1534BF97D9E}"/>
                  </a:ext>
                </a:extLst>
              </p:cNvPr>
              <p:cNvSpPr/>
              <p:nvPr/>
            </p:nvSpPr>
            <p:spPr>
              <a:xfrm>
                <a:off x="2267225" y="1810163"/>
                <a:ext cx="1209700" cy="473900"/>
              </a:xfrm>
              <a:custGeom>
                <a:avLst/>
                <a:gdLst/>
                <a:ahLst/>
                <a:cxnLst/>
                <a:rect l="l" t="t" r="r" b="b"/>
                <a:pathLst>
                  <a:path w="48388" h="18956" extrusionOk="0">
                    <a:moveTo>
                      <a:pt x="1" y="1"/>
                    </a:moveTo>
                    <a:lnTo>
                      <a:pt x="1" y="18955"/>
                    </a:lnTo>
                    <a:lnTo>
                      <a:pt x="45399" y="18955"/>
                    </a:lnTo>
                    <a:cubicBezTo>
                      <a:pt x="47043" y="18955"/>
                      <a:pt x="48388" y="17610"/>
                      <a:pt x="48388" y="15967"/>
                    </a:cubicBezTo>
                    <a:lnTo>
                      <a:pt x="48388" y="2989"/>
                    </a:lnTo>
                    <a:cubicBezTo>
                      <a:pt x="48388" y="1346"/>
                      <a:pt x="47043" y="1"/>
                      <a:pt x="45399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algn="ctr" defTabSz="685800">
                  <a:buClr>
                    <a:prstClr val="black"/>
                  </a:buClr>
                  <a:buSzPts val="1100"/>
                </a:pPr>
                <a:r>
                  <a:rPr lang="pt-BR" sz="1350" b="1" dirty="0" err="1">
                    <a:solidFill>
                      <a:prstClr val="white"/>
                    </a:solidFill>
                    <a:latin typeface="Calibri Light" panose="020F0302020204030204"/>
                  </a:rPr>
                  <a:t>Sincrono</a:t>
                </a:r>
                <a:endParaRPr lang="pt-BR" sz="1350" b="1" dirty="0">
                  <a:solidFill>
                    <a:prstClr val="white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17" name="Google Shape;1297;p41">
                <a:extLst>
                  <a:ext uri="{FF2B5EF4-FFF2-40B4-BE49-F238E27FC236}">
                    <a16:creationId xmlns:a16="http://schemas.microsoft.com/office/drawing/2014/main" id="{563B1FB5-83E6-84E2-78A8-961AFEBDCEB4}"/>
                  </a:ext>
                </a:extLst>
              </p:cNvPr>
              <p:cNvSpPr/>
              <p:nvPr/>
            </p:nvSpPr>
            <p:spPr>
              <a:xfrm>
                <a:off x="2257700" y="1810163"/>
                <a:ext cx="19075" cy="796250"/>
              </a:xfrm>
              <a:custGeom>
                <a:avLst/>
                <a:gdLst/>
                <a:ahLst/>
                <a:cxnLst/>
                <a:rect l="l" t="t" r="r" b="b"/>
                <a:pathLst>
                  <a:path w="763" h="31850" extrusionOk="0">
                    <a:moveTo>
                      <a:pt x="382" y="1"/>
                    </a:moveTo>
                    <a:cubicBezTo>
                      <a:pt x="180" y="1"/>
                      <a:pt x="1" y="179"/>
                      <a:pt x="1" y="382"/>
                    </a:cubicBezTo>
                    <a:lnTo>
                      <a:pt x="1" y="31469"/>
                    </a:lnTo>
                    <a:cubicBezTo>
                      <a:pt x="1" y="31683"/>
                      <a:pt x="180" y="31850"/>
                      <a:pt x="382" y="31850"/>
                    </a:cubicBezTo>
                    <a:cubicBezTo>
                      <a:pt x="596" y="31850"/>
                      <a:pt x="763" y="31683"/>
                      <a:pt x="763" y="31469"/>
                    </a:cubicBezTo>
                    <a:lnTo>
                      <a:pt x="763" y="382"/>
                    </a:lnTo>
                    <a:cubicBezTo>
                      <a:pt x="763" y="179"/>
                      <a:pt x="596" y="1"/>
                      <a:pt x="382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defTabSz="685800"/>
                <a:endParaRPr lang="pt-BR" sz="1350" b="1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655665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torno de mensagens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BE189B6A-F949-709D-F27E-527FB83E10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1512" y="980728"/>
            <a:ext cx="4392488" cy="3150523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BD8292CD-C848-5D61-87B1-E4C6EA766D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269" y="980728"/>
            <a:ext cx="4280220" cy="3164556"/>
          </a:xfrm>
          <a:prstGeom prst="rect">
            <a:avLst/>
          </a:prstGeom>
        </p:spPr>
      </p:pic>
      <p:grpSp>
        <p:nvGrpSpPr>
          <p:cNvPr id="9" name="Google Shape;1288;p41">
            <a:extLst>
              <a:ext uri="{FF2B5EF4-FFF2-40B4-BE49-F238E27FC236}">
                <a16:creationId xmlns:a16="http://schemas.microsoft.com/office/drawing/2014/main" id="{1DB46016-0448-8F1B-55E2-615F4F00A311}"/>
              </a:ext>
            </a:extLst>
          </p:cNvPr>
          <p:cNvGrpSpPr/>
          <p:nvPr/>
        </p:nvGrpSpPr>
        <p:grpSpPr>
          <a:xfrm>
            <a:off x="1468961" y="4293096"/>
            <a:ext cx="1238547" cy="1753424"/>
            <a:chOff x="2143125" y="1810163"/>
            <a:chExt cx="1333800" cy="1888275"/>
          </a:xfrm>
        </p:grpSpPr>
        <p:sp>
          <p:nvSpPr>
            <p:cNvPr id="10" name="Google Shape;1289;p41">
              <a:extLst>
                <a:ext uri="{FF2B5EF4-FFF2-40B4-BE49-F238E27FC236}">
                  <a16:creationId xmlns:a16="http://schemas.microsoft.com/office/drawing/2014/main" id="{FA45E8AF-CFCB-E911-9220-536AEAAC1AD3}"/>
                </a:ext>
              </a:extLst>
            </p:cNvPr>
            <p:cNvSpPr/>
            <p:nvPr/>
          </p:nvSpPr>
          <p:spPr>
            <a:xfrm>
              <a:off x="2197575" y="2750238"/>
              <a:ext cx="1113275" cy="948200"/>
            </a:xfrm>
            <a:custGeom>
              <a:avLst/>
              <a:gdLst/>
              <a:ahLst/>
              <a:cxnLst/>
              <a:rect l="l" t="t" r="r" b="b"/>
              <a:pathLst>
                <a:path w="44531" h="37928" extrusionOk="0">
                  <a:moveTo>
                    <a:pt x="22248" y="1"/>
                  </a:moveTo>
                  <a:cubicBezTo>
                    <a:pt x="16554" y="1"/>
                    <a:pt x="10859" y="1254"/>
                    <a:pt x="6514" y="3760"/>
                  </a:cubicBezTo>
                  <a:cubicBezTo>
                    <a:pt x="2454" y="6106"/>
                    <a:pt x="287" y="9142"/>
                    <a:pt x="25" y="12213"/>
                  </a:cubicBezTo>
                  <a:lnTo>
                    <a:pt x="1" y="12213"/>
                  </a:lnTo>
                  <a:lnTo>
                    <a:pt x="1" y="25072"/>
                  </a:lnTo>
                  <a:cubicBezTo>
                    <a:pt x="1" y="28370"/>
                    <a:pt x="2168" y="31656"/>
                    <a:pt x="6514" y="34168"/>
                  </a:cubicBezTo>
                  <a:cubicBezTo>
                    <a:pt x="10859" y="36675"/>
                    <a:pt x="16554" y="37928"/>
                    <a:pt x="22248" y="37928"/>
                  </a:cubicBezTo>
                  <a:cubicBezTo>
                    <a:pt x="27942" y="37928"/>
                    <a:pt x="33636" y="36675"/>
                    <a:pt x="37982" y="34168"/>
                  </a:cubicBezTo>
                  <a:cubicBezTo>
                    <a:pt x="42328" y="31656"/>
                    <a:pt x="44506" y="28370"/>
                    <a:pt x="44506" y="25072"/>
                  </a:cubicBezTo>
                  <a:lnTo>
                    <a:pt x="44530" y="25072"/>
                  </a:lnTo>
                  <a:lnTo>
                    <a:pt x="44530" y="12213"/>
                  </a:lnTo>
                  <a:lnTo>
                    <a:pt x="44483" y="12213"/>
                  </a:lnTo>
                  <a:cubicBezTo>
                    <a:pt x="44221" y="9142"/>
                    <a:pt x="42054" y="6106"/>
                    <a:pt x="37982" y="3760"/>
                  </a:cubicBezTo>
                  <a:cubicBezTo>
                    <a:pt x="33636" y="1254"/>
                    <a:pt x="27942" y="1"/>
                    <a:pt x="22248" y="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Google Shape;1290;p41">
              <a:extLst>
                <a:ext uri="{FF2B5EF4-FFF2-40B4-BE49-F238E27FC236}">
                  <a16:creationId xmlns:a16="http://schemas.microsoft.com/office/drawing/2014/main" id="{0B537DF6-92AC-BC32-B94C-0FEE9425E713}"/>
                </a:ext>
              </a:extLst>
            </p:cNvPr>
            <p:cNvSpPr/>
            <p:nvPr/>
          </p:nvSpPr>
          <p:spPr>
            <a:xfrm>
              <a:off x="2197275" y="3205888"/>
              <a:ext cx="1113575" cy="492550"/>
            </a:xfrm>
            <a:custGeom>
              <a:avLst/>
              <a:gdLst/>
              <a:ahLst/>
              <a:cxnLst/>
              <a:rect l="l" t="t" r="r" b="b"/>
              <a:pathLst>
                <a:path w="44543" h="19702" extrusionOk="0">
                  <a:moveTo>
                    <a:pt x="1" y="0"/>
                  </a:moveTo>
                  <a:lnTo>
                    <a:pt x="1" y="6846"/>
                  </a:lnTo>
                  <a:cubicBezTo>
                    <a:pt x="1" y="10144"/>
                    <a:pt x="2180" y="13430"/>
                    <a:pt x="6526" y="15942"/>
                  </a:cubicBezTo>
                  <a:cubicBezTo>
                    <a:pt x="10871" y="18449"/>
                    <a:pt x="16566" y="19702"/>
                    <a:pt x="22260" y="19702"/>
                  </a:cubicBezTo>
                  <a:cubicBezTo>
                    <a:pt x="27954" y="19702"/>
                    <a:pt x="33648" y="18449"/>
                    <a:pt x="37994" y="15942"/>
                  </a:cubicBezTo>
                  <a:cubicBezTo>
                    <a:pt x="42340" y="13430"/>
                    <a:pt x="44518" y="10144"/>
                    <a:pt x="44518" y="6846"/>
                  </a:cubicBezTo>
                  <a:lnTo>
                    <a:pt x="44542" y="6846"/>
                  </a:lnTo>
                  <a:lnTo>
                    <a:pt x="44542" y="0"/>
                  </a:lnTo>
                  <a:lnTo>
                    <a:pt x="44518" y="0"/>
                  </a:lnTo>
                  <a:cubicBezTo>
                    <a:pt x="44518" y="3286"/>
                    <a:pt x="42340" y="6584"/>
                    <a:pt x="37994" y="9084"/>
                  </a:cubicBezTo>
                  <a:cubicBezTo>
                    <a:pt x="33648" y="11597"/>
                    <a:pt x="27954" y="12853"/>
                    <a:pt x="22260" y="12853"/>
                  </a:cubicBezTo>
                  <a:cubicBezTo>
                    <a:pt x="16566" y="12853"/>
                    <a:pt x="10871" y="11597"/>
                    <a:pt x="6526" y="9084"/>
                  </a:cubicBezTo>
                  <a:cubicBezTo>
                    <a:pt x="2180" y="6584"/>
                    <a:pt x="1" y="3286"/>
                    <a:pt x="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Google Shape;1291;p41">
              <a:extLst>
                <a:ext uri="{FF2B5EF4-FFF2-40B4-BE49-F238E27FC236}">
                  <a16:creationId xmlns:a16="http://schemas.microsoft.com/office/drawing/2014/main" id="{9C5FA386-2198-28B3-47B2-5E917A648927}"/>
                </a:ext>
              </a:extLst>
            </p:cNvPr>
            <p:cNvSpPr/>
            <p:nvPr/>
          </p:nvSpPr>
          <p:spPr>
            <a:xfrm>
              <a:off x="2143125" y="2750238"/>
              <a:ext cx="1221300" cy="642450"/>
            </a:xfrm>
            <a:custGeom>
              <a:avLst/>
              <a:gdLst/>
              <a:ahLst/>
              <a:cxnLst/>
              <a:rect l="l" t="t" r="r" b="b"/>
              <a:pathLst>
                <a:path w="48852" h="25698" extrusionOk="0">
                  <a:moveTo>
                    <a:pt x="24426" y="1"/>
                  </a:moveTo>
                  <a:cubicBezTo>
                    <a:pt x="18732" y="1"/>
                    <a:pt x="13037" y="1254"/>
                    <a:pt x="8692" y="3760"/>
                  </a:cubicBezTo>
                  <a:cubicBezTo>
                    <a:pt x="0" y="8784"/>
                    <a:pt x="0" y="16916"/>
                    <a:pt x="8692" y="21929"/>
                  </a:cubicBezTo>
                  <a:cubicBezTo>
                    <a:pt x="13037" y="24441"/>
                    <a:pt x="18732" y="25697"/>
                    <a:pt x="24426" y="25697"/>
                  </a:cubicBezTo>
                  <a:cubicBezTo>
                    <a:pt x="30120" y="25697"/>
                    <a:pt x="35814" y="24441"/>
                    <a:pt x="40160" y="21929"/>
                  </a:cubicBezTo>
                  <a:cubicBezTo>
                    <a:pt x="48851" y="16916"/>
                    <a:pt x="48851" y="8784"/>
                    <a:pt x="40160" y="3760"/>
                  </a:cubicBezTo>
                  <a:cubicBezTo>
                    <a:pt x="35814" y="1254"/>
                    <a:pt x="30120" y="1"/>
                    <a:pt x="24426" y="1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Google Shape;1292;p41">
              <a:extLst>
                <a:ext uri="{FF2B5EF4-FFF2-40B4-BE49-F238E27FC236}">
                  <a16:creationId xmlns:a16="http://schemas.microsoft.com/office/drawing/2014/main" id="{7F89EB64-5814-FBCC-1261-695554DD5755}"/>
                </a:ext>
              </a:extLst>
            </p:cNvPr>
            <p:cNvSpPr/>
            <p:nvPr/>
          </p:nvSpPr>
          <p:spPr>
            <a:xfrm>
              <a:off x="2284800" y="2824588"/>
              <a:ext cx="938825" cy="493825"/>
            </a:xfrm>
            <a:custGeom>
              <a:avLst/>
              <a:gdLst/>
              <a:ahLst/>
              <a:cxnLst/>
              <a:rect l="l" t="t" r="r" b="b"/>
              <a:pathLst>
                <a:path w="37553" h="19753" extrusionOk="0">
                  <a:moveTo>
                    <a:pt x="18777" y="0"/>
                  </a:moveTo>
                  <a:cubicBezTo>
                    <a:pt x="14398" y="0"/>
                    <a:pt x="10019" y="965"/>
                    <a:pt x="6680" y="2893"/>
                  </a:cubicBezTo>
                  <a:cubicBezTo>
                    <a:pt x="0" y="6751"/>
                    <a:pt x="0" y="13002"/>
                    <a:pt x="6680" y="16859"/>
                  </a:cubicBezTo>
                  <a:cubicBezTo>
                    <a:pt x="10019" y="18788"/>
                    <a:pt x="14398" y="19753"/>
                    <a:pt x="18777" y="19753"/>
                  </a:cubicBezTo>
                  <a:cubicBezTo>
                    <a:pt x="23155" y="19753"/>
                    <a:pt x="27534" y="18788"/>
                    <a:pt x="30873" y="16859"/>
                  </a:cubicBezTo>
                  <a:cubicBezTo>
                    <a:pt x="37553" y="13002"/>
                    <a:pt x="37553" y="6751"/>
                    <a:pt x="30873" y="2893"/>
                  </a:cubicBezTo>
                  <a:cubicBezTo>
                    <a:pt x="27534" y="965"/>
                    <a:pt x="23155" y="0"/>
                    <a:pt x="187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Google Shape;1294;p41">
              <a:extLst>
                <a:ext uri="{FF2B5EF4-FFF2-40B4-BE49-F238E27FC236}">
                  <a16:creationId xmlns:a16="http://schemas.microsoft.com/office/drawing/2014/main" id="{835D3DC8-49AE-E010-776B-103F083B4E74}"/>
                </a:ext>
              </a:extLst>
            </p:cNvPr>
            <p:cNvSpPr/>
            <p:nvPr/>
          </p:nvSpPr>
          <p:spPr>
            <a:xfrm>
              <a:off x="2319025" y="2824588"/>
              <a:ext cx="870375" cy="264925"/>
            </a:xfrm>
            <a:custGeom>
              <a:avLst/>
              <a:gdLst/>
              <a:ahLst/>
              <a:cxnLst/>
              <a:rect l="l" t="t" r="r" b="b"/>
              <a:pathLst>
                <a:path w="34815" h="10597" extrusionOk="0">
                  <a:moveTo>
                    <a:pt x="17408" y="0"/>
                  </a:moveTo>
                  <a:cubicBezTo>
                    <a:pt x="13029" y="0"/>
                    <a:pt x="8650" y="965"/>
                    <a:pt x="5311" y="2893"/>
                  </a:cubicBezTo>
                  <a:cubicBezTo>
                    <a:pt x="1656" y="5001"/>
                    <a:pt x="1" y="7834"/>
                    <a:pt x="346" y="10597"/>
                  </a:cubicBezTo>
                  <a:cubicBezTo>
                    <a:pt x="644" y="8323"/>
                    <a:pt x="2287" y="6084"/>
                    <a:pt x="5311" y="4346"/>
                  </a:cubicBezTo>
                  <a:cubicBezTo>
                    <a:pt x="8650" y="2417"/>
                    <a:pt x="13029" y="1453"/>
                    <a:pt x="17408" y="1453"/>
                  </a:cubicBezTo>
                  <a:cubicBezTo>
                    <a:pt x="21786" y="1453"/>
                    <a:pt x="26165" y="2417"/>
                    <a:pt x="29504" y="4346"/>
                  </a:cubicBezTo>
                  <a:cubicBezTo>
                    <a:pt x="32517" y="6084"/>
                    <a:pt x="34172" y="8323"/>
                    <a:pt x="34457" y="10597"/>
                  </a:cubicBezTo>
                  <a:cubicBezTo>
                    <a:pt x="34814" y="7834"/>
                    <a:pt x="33160" y="5001"/>
                    <a:pt x="29504" y="2893"/>
                  </a:cubicBezTo>
                  <a:cubicBezTo>
                    <a:pt x="26165" y="965"/>
                    <a:pt x="21786" y="0"/>
                    <a:pt x="17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5" name="Google Shape;1295;p41">
              <a:extLst>
                <a:ext uri="{FF2B5EF4-FFF2-40B4-BE49-F238E27FC236}">
                  <a16:creationId xmlns:a16="http://schemas.microsoft.com/office/drawing/2014/main" id="{91BFD64D-FE5B-F8D9-A4FA-65317B5AADC8}"/>
                </a:ext>
              </a:extLst>
            </p:cNvPr>
            <p:cNvGrpSpPr/>
            <p:nvPr/>
          </p:nvGrpSpPr>
          <p:grpSpPr>
            <a:xfrm>
              <a:off x="2257700" y="1810163"/>
              <a:ext cx="1219225" cy="796250"/>
              <a:chOff x="2257700" y="1810163"/>
              <a:chExt cx="1219225" cy="796250"/>
            </a:xfrm>
          </p:grpSpPr>
          <p:sp>
            <p:nvSpPr>
              <p:cNvPr id="16" name="Google Shape;1296;p41">
                <a:extLst>
                  <a:ext uri="{FF2B5EF4-FFF2-40B4-BE49-F238E27FC236}">
                    <a16:creationId xmlns:a16="http://schemas.microsoft.com/office/drawing/2014/main" id="{DC74AF8B-5D7C-52E0-91EC-C1534BF97D9E}"/>
                  </a:ext>
                </a:extLst>
              </p:cNvPr>
              <p:cNvSpPr/>
              <p:nvPr/>
            </p:nvSpPr>
            <p:spPr>
              <a:xfrm>
                <a:off x="2267225" y="1810163"/>
                <a:ext cx="1209700" cy="473900"/>
              </a:xfrm>
              <a:custGeom>
                <a:avLst/>
                <a:gdLst/>
                <a:ahLst/>
                <a:cxnLst/>
                <a:rect l="l" t="t" r="r" b="b"/>
                <a:pathLst>
                  <a:path w="48388" h="18956" extrusionOk="0">
                    <a:moveTo>
                      <a:pt x="1" y="1"/>
                    </a:moveTo>
                    <a:lnTo>
                      <a:pt x="1" y="18955"/>
                    </a:lnTo>
                    <a:lnTo>
                      <a:pt x="45399" y="18955"/>
                    </a:lnTo>
                    <a:cubicBezTo>
                      <a:pt x="47043" y="18955"/>
                      <a:pt x="48388" y="17610"/>
                      <a:pt x="48388" y="15967"/>
                    </a:cubicBezTo>
                    <a:lnTo>
                      <a:pt x="48388" y="2989"/>
                    </a:lnTo>
                    <a:cubicBezTo>
                      <a:pt x="48388" y="1346"/>
                      <a:pt x="47043" y="1"/>
                      <a:pt x="45399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algn="ctr" defTabSz="685800">
                  <a:buClr>
                    <a:prstClr val="black"/>
                  </a:buClr>
                  <a:buSzPts val="1100"/>
                </a:pPr>
                <a:r>
                  <a:rPr lang="pt-BR" sz="1350" b="1" dirty="0" err="1">
                    <a:solidFill>
                      <a:prstClr val="white"/>
                    </a:solidFill>
                    <a:latin typeface="Calibri Light" panose="020F0302020204030204"/>
                  </a:rPr>
                  <a:t>Sincrono</a:t>
                </a:r>
                <a:endParaRPr lang="pt-BR" sz="1350" b="1" dirty="0">
                  <a:solidFill>
                    <a:prstClr val="white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17" name="Google Shape;1297;p41">
                <a:extLst>
                  <a:ext uri="{FF2B5EF4-FFF2-40B4-BE49-F238E27FC236}">
                    <a16:creationId xmlns:a16="http://schemas.microsoft.com/office/drawing/2014/main" id="{563B1FB5-83E6-84E2-78A8-961AFEBDCEB4}"/>
                  </a:ext>
                </a:extLst>
              </p:cNvPr>
              <p:cNvSpPr/>
              <p:nvPr/>
            </p:nvSpPr>
            <p:spPr>
              <a:xfrm>
                <a:off x="2257700" y="1810163"/>
                <a:ext cx="19075" cy="796250"/>
              </a:xfrm>
              <a:custGeom>
                <a:avLst/>
                <a:gdLst/>
                <a:ahLst/>
                <a:cxnLst/>
                <a:rect l="l" t="t" r="r" b="b"/>
                <a:pathLst>
                  <a:path w="763" h="31850" extrusionOk="0">
                    <a:moveTo>
                      <a:pt x="382" y="1"/>
                    </a:moveTo>
                    <a:cubicBezTo>
                      <a:pt x="180" y="1"/>
                      <a:pt x="1" y="179"/>
                      <a:pt x="1" y="382"/>
                    </a:cubicBezTo>
                    <a:lnTo>
                      <a:pt x="1" y="31469"/>
                    </a:lnTo>
                    <a:cubicBezTo>
                      <a:pt x="1" y="31683"/>
                      <a:pt x="180" y="31850"/>
                      <a:pt x="382" y="31850"/>
                    </a:cubicBezTo>
                    <a:cubicBezTo>
                      <a:pt x="596" y="31850"/>
                      <a:pt x="763" y="31683"/>
                      <a:pt x="763" y="31469"/>
                    </a:cubicBezTo>
                    <a:lnTo>
                      <a:pt x="763" y="382"/>
                    </a:lnTo>
                    <a:cubicBezTo>
                      <a:pt x="763" y="179"/>
                      <a:pt x="596" y="1"/>
                      <a:pt x="382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defTabSz="685800"/>
                <a:endParaRPr lang="pt-BR" sz="1350" b="1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18" name="Google Shape;1302;p41">
            <a:extLst>
              <a:ext uri="{FF2B5EF4-FFF2-40B4-BE49-F238E27FC236}">
                <a16:creationId xmlns:a16="http://schemas.microsoft.com/office/drawing/2014/main" id="{8BE32B12-34BF-6D25-CB37-5080B7A15013}"/>
              </a:ext>
            </a:extLst>
          </p:cNvPr>
          <p:cNvGrpSpPr/>
          <p:nvPr/>
        </p:nvGrpSpPr>
        <p:grpSpPr>
          <a:xfrm>
            <a:off x="6209441" y="4293096"/>
            <a:ext cx="1238570" cy="1753424"/>
            <a:chOff x="3754025" y="1810163"/>
            <a:chExt cx="1333825" cy="1888275"/>
          </a:xfrm>
        </p:grpSpPr>
        <p:sp>
          <p:nvSpPr>
            <p:cNvPr id="19" name="Google Shape;1303;p41">
              <a:extLst>
                <a:ext uri="{FF2B5EF4-FFF2-40B4-BE49-F238E27FC236}">
                  <a16:creationId xmlns:a16="http://schemas.microsoft.com/office/drawing/2014/main" id="{9D533B5B-E1F6-DF5E-60A5-788E1BC5DE4A}"/>
                </a:ext>
              </a:extLst>
            </p:cNvPr>
            <p:cNvSpPr/>
            <p:nvPr/>
          </p:nvSpPr>
          <p:spPr>
            <a:xfrm>
              <a:off x="3808500" y="2750238"/>
              <a:ext cx="1113550" cy="948200"/>
            </a:xfrm>
            <a:custGeom>
              <a:avLst/>
              <a:gdLst/>
              <a:ahLst/>
              <a:cxnLst/>
              <a:rect l="l" t="t" r="r" b="b"/>
              <a:pathLst>
                <a:path w="44542" h="37928" extrusionOk="0">
                  <a:moveTo>
                    <a:pt x="22253" y="1"/>
                  </a:moveTo>
                  <a:cubicBezTo>
                    <a:pt x="16556" y="1"/>
                    <a:pt x="10859" y="1254"/>
                    <a:pt x="6513" y="3760"/>
                  </a:cubicBezTo>
                  <a:cubicBezTo>
                    <a:pt x="2453" y="6106"/>
                    <a:pt x="286" y="9142"/>
                    <a:pt x="24" y="12213"/>
                  </a:cubicBezTo>
                  <a:lnTo>
                    <a:pt x="0" y="12213"/>
                  </a:lnTo>
                  <a:lnTo>
                    <a:pt x="0" y="25072"/>
                  </a:lnTo>
                  <a:cubicBezTo>
                    <a:pt x="0" y="28370"/>
                    <a:pt x="2167" y="31656"/>
                    <a:pt x="6513" y="34168"/>
                  </a:cubicBezTo>
                  <a:cubicBezTo>
                    <a:pt x="10859" y="36675"/>
                    <a:pt x="16556" y="37928"/>
                    <a:pt x="22253" y="37928"/>
                  </a:cubicBezTo>
                  <a:cubicBezTo>
                    <a:pt x="27950" y="37928"/>
                    <a:pt x="33648" y="36675"/>
                    <a:pt x="37993" y="34168"/>
                  </a:cubicBezTo>
                  <a:cubicBezTo>
                    <a:pt x="42339" y="31656"/>
                    <a:pt x="44506" y="28370"/>
                    <a:pt x="44506" y="25072"/>
                  </a:cubicBezTo>
                  <a:lnTo>
                    <a:pt x="44542" y="25072"/>
                  </a:lnTo>
                  <a:lnTo>
                    <a:pt x="44542" y="12213"/>
                  </a:lnTo>
                  <a:lnTo>
                    <a:pt x="44482" y="12213"/>
                  </a:lnTo>
                  <a:cubicBezTo>
                    <a:pt x="44220" y="9142"/>
                    <a:pt x="42053" y="6106"/>
                    <a:pt x="37993" y="3760"/>
                  </a:cubicBezTo>
                  <a:cubicBezTo>
                    <a:pt x="33648" y="1254"/>
                    <a:pt x="27950" y="1"/>
                    <a:pt x="22253" y="1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Google Shape;1304;p41">
              <a:extLst>
                <a:ext uri="{FF2B5EF4-FFF2-40B4-BE49-F238E27FC236}">
                  <a16:creationId xmlns:a16="http://schemas.microsoft.com/office/drawing/2014/main" id="{EEBF76CB-6D0E-1C07-980E-5CCD360E2F3C}"/>
                </a:ext>
              </a:extLst>
            </p:cNvPr>
            <p:cNvSpPr/>
            <p:nvPr/>
          </p:nvSpPr>
          <p:spPr>
            <a:xfrm>
              <a:off x="3808500" y="3205888"/>
              <a:ext cx="1113550" cy="492550"/>
            </a:xfrm>
            <a:custGeom>
              <a:avLst/>
              <a:gdLst/>
              <a:ahLst/>
              <a:cxnLst/>
              <a:rect l="l" t="t" r="r" b="b"/>
              <a:pathLst>
                <a:path w="44542" h="19702" extrusionOk="0">
                  <a:moveTo>
                    <a:pt x="0" y="0"/>
                  </a:moveTo>
                  <a:lnTo>
                    <a:pt x="0" y="6846"/>
                  </a:lnTo>
                  <a:cubicBezTo>
                    <a:pt x="0" y="10144"/>
                    <a:pt x="2167" y="13430"/>
                    <a:pt x="6513" y="15942"/>
                  </a:cubicBezTo>
                  <a:cubicBezTo>
                    <a:pt x="10859" y="18449"/>
                    <a:pt x="16556" y="19702"/>
                    <a:pt x="22253" y="19702"/>
                  </a:cubicBezTo>
                  <a:cubicBezTo>
                    <a:pt x="27950" y="19702"/>
                    <a:pt x="33648" y="18449"/>
                    <a:pt x="37993" y="15942"/>
                  </a:cubicBezTo>
                  <a:cubicBezTo>
                    <a:pt x="42339" y="13430"/>
                    <a:pt x="44506" y="10144"/>
                    <a:pt x="44506" y="6846"/>
                  </a:cubicBezTo>
                  <a:lnTo>
                    <a:pt x="44542" y="6846"/>
                  </a:lnTo>
                  <a:lnTo>
                    <a:pt x="44542" y="0"/>
                  </a:lnTo>
                  <a:lnTo>
                    <a:pt x="44506" y="0"/>
                  </a:lnTo>
                  <a:cubicBezTo>
                    <a:pt x="44506" y="3286"/>
                    <a:pt x="42339" y="6584"/>
                    <a:pt x="37993" y="9084"/>
                  </a:cubicBezTo>
                  <a:cubicBezTo>
                    <a:pt x="33648" y="11597"/>
                    <a:pt x="27950" y="12853"/>
                    <a:pt x="22253" y="12853"/>
                  </a:cubicBezTo>
                  <a:cubicBezTo>
                    <a:pt x="16556" y="12853"/>
                    <a:pt x="10859" y="11597"/>
                    <a:pt x="6513" y="9084"/>
                  </a:cubicBezTo>
                  <a:cubicBezTo>
                    <a:pt x="2167" y="6584"/>
                    <a:pt x="0" y="3286"/>
                    <a:pt x="0" y="0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Google Shape;1305;p41">
              <a:extLst>
                <a:ext uri="{FF2B5EF4-FFF2-40B4-BE49-F238E27FC236}">
                  <a16:creationId xmlns:a16="http://schemas.microsoft.com/office/drawing/2014/main" id="{8556EB5A-D263-3FBA-D2AD-537D28B48DD8}"/>
                </a:ext>
              </a:extLst>
            </p:cNvPr>
            <p:cNvSpPr/>
            <p:nvPr/>
          </p:nvSpPr>
          <p:spPr>
            <a:xfrm>
              <a:off x="3754025" y="2750238"/>
              <a:ext cx="1221600" cy="642450"/>
            </a:xfrm>
            <a:custGeom>
              <a:avLst/>
              <a:gdLst/>
              <a:ahLst/>
              <a:cxnLst/>
              <a:rect l="l" t="t" r="r" b="b"/>
              <a:pathLst>
                <a:path w="48864" h="25698" extrusionOk="0">
                  <a:moveTo>
                    <a:pt x="24432" y="1"/>
                  </a:moveTo>
                  <a:cubicBezTo>
                    <a:pt x="18735" y="1"/>
                    <a:pt x="13038" y="1254"/>
                    <a:pt x="8692" y="3760"/>
                  </a:cubicBezTo>
                  <a:cubicBezTo>
                    <a:pt x="1" y="8784"/>
                    <a:pt x="1" y="16916"/>
                    <a:pt x="8692" y="21929"/>
                  </a:cubicBezTo>
                  <a:cubicBezTo>
                    <a:pt x="13038" y="24441"/>
                    <a:pt x="18735" y="25697"/>
                    <a:pt x="24432" y="25697"/>
                  </a:cubicBezTo>
                  <a:cubicBezTo>
                    <a:pt x="30129" y="25697"/>
                    <a:pt x="35827" y="24441"/>
                    <a:pt x="40172" y="21929"/>
                  </a:cubicBezTo>
                  <a:cubicBezTo>
                    <a:pt x="48864" y="16916"/>
                    <a:pt x="48864" y="8784"/>
                    <a:pt x="40172" y="3760"/>
                  </a:cubicBezTo>
                  <a:cubicBezTo>
                    <a:pt x="35827" y="1254"/>
                    <a:pt x="30129" y="1"/>
                    <a:pt x="24432" y="1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Google Shape;1306;p41">
              <a:extLst>
                <a:ext uri="{FF2B5EF4-FFF2-40B4-BE49-F238E27FC236}">
                  <a16:creationId xmlns:a16="http://schemas.microsoft.com/office/drawing/2014/main" id="{94B37411-8841-269E-5AAD-F90CEA7AA6C8}"/>
                </a:ext>
              </a:extLst>
            </p:cNvPr>
            <p:cNvSpPr/>
            <p:nvPr/>
          </p:nvSpPr>
          <p:spPr>
            <a:xfrm>
              <a:off x="3895725" y="2824588"/>
              <a:ext cx="938825" cy="493825"/>
            </a:xfrm>
            <a:custGeom>
              <a:avLst/>
              <a:gdLst/>
              <a:ahLst/>
              <a:cxnLst/>
              <a:rect l="l" t="t" r="r" b="b"/>
              <a:pathLst>
                <a:path w="37553" h="19753" extrusionOk="0">
                  <a:moveTo>
                    <a:pt x="18781" y="0"/>
                  </a:moveTo>
                  <a:cubicBezTo>
                    <a:pt x="14404" y="0"/>
                    <a:pt x="10025" y="965"/>
                    <a:pt x="6679" y="2893"/>
                  </a:cubicBezTo>
                  <a:cubicBezTo>
                    <a:pt x="0" y="6751"/>
                    <a:pt x="0" y="13002"/>
                    <a:pt x="6679" y="16859"/>
                  </a:cubicBezTo>
                  <a:cubicBezTo>
                    <a:pt x="10025" y="18788"/>
                    <a:pt x="14404" y="19753"/>
                    <a:pt x="18781" y="19753"/>
                  </a:cubicBezTo>
                  <a:cubicBezTo>
                    <a:pt x="23158" y="19753"/>
                    <a:pt x="27533" y="18788"/>
                    <a:pt x="30873" y="16859"/>
                  </a:cubicBezTo>
                  <a:cubicBezTo>
                    <a:pt x="37552" y="13002"/>
                    <a:pt x="37552" y="6751"/>
                    <a:pt x="30873" y="2893"/>
                  </a:cubicBezTo>
                  <a:cubicBezTo>
                    <a:pt x="27533" y="965"/>
                    <a:pt x="23158" y="0"/>
                    <a:pt x="1878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Google Shape;1308;p41">
              <a:extLst>
                <a:ext uri="{FF2B5EF4-FFF2-40B4-BE49-F238E27FC236}">
                  <a16:creationId xmlns:a16="http://schemas.microsoft.com/office/drawing/2014/main" id="{C896DB95-92B9-86BD-D738-38E8DDB83DF2}"/>
                </a:ext>
              </a:extLst>
            </p:cNvPr>
            <p:cNvSpPr/>
            <p:nvPr/>
          </p:nvSpPr>
          <p:spPr>
            <a:xfrm>
              <a:off x="3929950" y="2824588"/>
              <a:ext cx="870375" cy="264925"/>
            </a:xfrm>
            <a:custGeom>
              <a:avLst/>
              <a:gdLst/>
              <a:ahLst/>
              <a:cxnLst/>
              <a:rect l="l" t="t" r="r" b="b"/>
              <a:pathLst>
                <a:path w="34815" h="10597" extrusionOk="0">
                  <a:moveTo>
                    <a:pt x="17412" y="0"/>
                  </a:moveTo>
                  <a:cubicBezTo>
                    <a:pt x="13035" y="0"/>
                    <a:pt x="8656" y="965"/>
                    <a:pt x="5310" y="2893"/>
                  </a:cubicBezTo>
                  <a:cubicBezTo>
                    <a:pt x="1655" y="5001"/>
                    <a:pt x="0" y="7834"/>
                    <a:pt x="357" y="10597"/>
                  </a:cubicBezTo>
                  <a:cubicBezTo>
                    <a:pt x="643" y="8323"/>
                    <a:pt x="2298" y="6084"/>
                    <a:pt x="5310" y="4346"/>
                  </a:cubicBezTo>
                  <a:cubicBezTo>
                    <a:pt x="8656" y="2417"/>
                    <a:pt x="13035" y="1453"/>
                    <a:pt x="17412" y="1453"/>
                  </a:cubicBezTo>
                  <a:cubicBezTo>
                    <a:pt x="21789" y="1453"/>
                    <a:pt x="26164" y="2417"/>
                    <a:pt x="29504" y="4346"/>
                  </a:cubicBezTo>
                  <a:cubicBezTo>
                    <a:pt x="32528" y="6084"/>
                    <a:pt x="34183" y="8323"/>
                    <a:pt x="34469" y="10597"/>
                  </a:cubicBezTo>
                  <a:cubicBezTo>
                    <a:pt x="34814" y="7834"/>
                    <a:pt x="33171" y="5001"/>
                    <a:pt x="29504" y="2893"/>
                  </a:cubicBezTo>
                  <a:cubicBezTo>
                    <a:pt x="26164" y="965"/>
                    <a:pt x="21789" y="0"/>
                    <a:pt x="17412" y="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24" name="Google Shape;1309;p41">
              <a:extLst>
                <a:ext uri="{FF2B5EF4-FFF2-40B4-BE49-F238E27FC236}">
                  <a16:creationId xmlns:a16="http://schemas.microsoft.com/office/drawing/2014/main" id="{148B9174-14A2-10AB-2B47-9F81CE42A0AC}"/>
                </a:ext>
              </a:extLst>
            </p:cNvPr>
            <p:cNvGrpSpPr/>
            <p:nvPr/>
          </p:nvGrpSpPr>
          <p:grpSpPr>
            <a:xfrm>
              <a:off x="3868925" y="1810163"/>
              <a:ext cx="1218925" cy="796250"/>
              <a:chOff x="3868925" y="1810163"/>
              <a:chExt cx="1218925" cy="796250"/>
            </a:xfrm>
          </p:grpSpPr>
          <p:sp>
            <p:nvSpPr>
              <p:cNvPr id="25" name="Google Shape;1310;p41">
                <a:extLst>
                  <a:ext uri="{FF2B5EF4-FFF2-40B4-BE49-F238E27FC236}">
                    <a16:creationId xmlns:a16="http://schemas.microsoft.com/office/drawing/2014/main" id="{D17F754E-204E-5AF8-DD00-9BBEE5765E1D}"/>
                  </a:ext>
                </a:extLst>
              </p:cNvPr>
              <p:cNvSpPr/>
              <p:nvPr/>
            </p:nvSpPr>
            <p:spPr>
              <a:xfrm>
                <a:off x="3878450" y="1810163"/>
                <a:ext cx="1209400" cy="473900"/>
              </a:xfrm>
              <a:custGeom>
                <a:avLst/>
                <a:gdLst/>
                <a:ahLst/>
                <a:cxnLst/>
                <a:rect l="l" t="t" r="r" b="b"/>
                <a:pathLst>
                  <a:path w="48376" h="18956" extrusionOk="0">
                    <a:moveTo>
                      <a:pt x="0" y="1"/>
                    </a:moveTo>
                    <a:lnTo>
                      <a:pt x="0" y="18955"/>
                    </a:lnTo>
                    <a:lnTo>
                      <a:pt x="45387" y="18955"/>
                    </a:lnTo>
                    <a:cubicBezTo>
                      <a:pt x="47042" y="18955"/>
                      <a:pt x="48376" y="17610"/>
                      <a:pt x="48376" y="15967"/>
                    </a:cubicBezTo>
                    <a:lnTo>
                      <a:pt x="48376" y="2989"/>
                    </a:lnTo>
                    <a:cubicBezTo>
                      <a:pt x="48376" y="1346"/>
                      <a:pt x="47042" y="1"/>
                      <a:pt x="45387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algn="ctr" defTabSz="685800">
                  <a:buClr>
                    <a:prstClr val="black"/>
                  </a:buClr>
                  <a:buSzPts val="1100"/>
                </a:pPr>
                <a:r>
                  <a:rPr lang="pt-BR" sz="1200" b="1" dirty="0" err="1">
                    <a:solidFill>
                      <a:prstClr val="white"/>
                    </a:solidFill>
                    <a:latin typeface="Calibri Light" panose="020F0302020204030204"/>
                  </a:rPr>
                  <a:t>Assincrono</a:t>
                </a:r>
                <a:endParaRPr lang="pt-BR" sz="1200" b="1" dirty="0">
                  <a:solidFill>
                    <a:prstClr val="white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26" name="Google Shape;1311;p41">
                <a:extLst>
                  <a:ext uri="{FF2B5EF4-FFF2-40B4-BE49-F238E27FC236}">
                    <a16:creationId xmlns:a16="http://schemas.microsoft.com/office/drawing/2014/main" id="{B7AE0FD5-0C64-C55C-3195-CACA71DA57F0}"/>
                  </a:ext>
                </a:extLst>
              </p:cNvPr>
              <p:cNvSpPr/>
              <p:nvPr/>
            </p:nvSpPr>
            <p:spPr>
              <a:xfrm>
                <a:off x="3868925" y="1810163"/>
                <a:ext cx="19075" cy="796250"/>
              </a:xfrm>
              <a:custGeom>
                <a:avLst/>
                <a:gdLst/>
                <a:ahLst/>
                <a:cxnLst/>
                <a:rect l="l" t="t" r="r" b="b"/>
                <a:pathLst>
                  <a:path w="763" h="31850" extrusionOk="0">
                    <a:moveTo>
                      <a:pt x="381" y="1"/>
                    </a:moveTo>
                    <a:cubicBezTo>
                      <a:pt x="167" y="1"/>
                      <a:pt x="0" y="179"/>
                      <a:pt x="0" y="382"/>
                    </a:cubicBezTo>
                    <a:lnTo>
                      <a:pt x="0" y="31469"/>
                    </a:lnTo>
                    <a:cubicBezTo>
                      <a:pt x="0" y="31683"/>
                      <a:pt x="167" y="31850"/>
                      <a:pt x="381" y="31850"/>
                    </a:cubicBezTo>
                    <a:cubicBezTo>
                      <a:pt x="584" y="31850"/>
                      <a:pt x="762" y="31683"/>
                      <a:pt x="762" y="31469"/>
                    </a:cubicBezTo>
                    <a:lnTo>
                      <a:pt x="762" y="382"/>
                    </a:lnTo>
                    <a:cubicBezTo>
                      <a:pt x="762" y="179"/>
                      <a:pt x="584" y="1"/>
                      <a:pt x="381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defTabSz="685800"/>
                <a:endParaRPr lang="pt-BR" sz="1350" b="1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421655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0BC72D34-CDB0-A977-3555-33719A0D6A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5387" y="1166812"/>
            <a:ext cx="6753225" cy="4524375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7F12508C-65AE-6D58-62AF-932E7B72BA62}"/>
              </a:ext>
            </a:extLst>
          </p:cNvPr>
          <p:cNvSpPr/>
          <p:nvPr/>
        </p:nvSpPr>
        <p:spPr>
          <a:xfrm>
            <a:off x="899592" y="841236"/>
            <a:ext cx="1224136" cy="5715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41865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7F12508C-65AE-6D58-62AF-932E7B72BA62}"/>
              </a:ext>
            </a:extLst>
          </p:cNvPr>
          <p:cNvSpPr/>
          <p:nvPr/>
        </p:nvSpPr>
        <p:spPr>
          <a:xfrm>
            <a:off x="899592" y="841236"/>
            <a:ext cx="1224136" cy="5715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8820FCD-1CA9-6413-FFE4-C166DD58C2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137" y="852487"/>
            <a:ext cx="8467725" cy="5153025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80E21B71-FBF6-C406-C92B-051CB1BD55C5}"/>
              </a:ext>
            </a:extLst>
          </p:cNvPr>
          <p:cNvSpPr/>
          <p:nvPr/>
        </p:nvSpPr>
        <p:spPr>
          <a:xfrm>
            <a:off x="223689" y="820514"/>
            <a:ext cx="1224136" cy="5715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78125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43" name="Picture 2">
            <a:extLst>
              <a:ext uri="{FF2B5EF4-FFF2-40B4-BE49-F238E27FC236}">
                <a16:creationId xmlns:a16="http://schemas.microsoft.com/office/drawing/2014/main" id="{84B5E9D2-4346-AD95-FF7C-0DE5D612C8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1" t="39049" r="21736" b="8868"/>
          <a:stretch>
            <a:fillRect/>
          </a:stretch>
        </p:blipFill>
        <p:spPr bwMode="auto">
          <a:xfrm>
            <a:off x="653040" y="1387800"/>
            <a:ext cx="7837920" cy="408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5BB3DA5-048D-7A6B-49F3-CBE123F58A8A}"/>
              </a:ext>
            </a:extLst>
          </p:cNvPr>
          <p:cNvSpPr txBox="1"/>
          <p:nvPr/>
        </p:nvSpPr>
        <p:spPr>
          <a:xfrm>
            <a:off x="8342" y="1922886"/>
            <a:ext cx="2645533" cy="1722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4726" indent="-414726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sz="2800" dirty="0">
                <a:latin typeface="Gotham HTF"/>
              </a:rPr>
              <a:t>Os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iagramas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e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sequências</a:t>
            </a:r>
            <a:r>
              <a:rPr lang="pt-BR" sz="2800" dirty="0">
                <a:latin typeface="Gotham HTF"/>
              </a:rPr>
              <a:t> enfatizam a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perspectiva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temporal</a:t>
            </a:r>
            <a:r>
              <a:rPr lang="pt-BR" sz="2800" dirty="0">
                <a:latin typeface="Gotham HTF"/>
              </a:rPr>
              <a:t> 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98374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1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DBDB26C-C482-23E1-2AF0-1F0F37EF6461}"/>
              </a:ext>
            </a:extLst>
          </p:cNvPr>
          <p:cNvSpPr txBox="1"/>
          <p:nvPr/>
        </p:nvSpPr>
        <p:spPr>
          <a:xfrm>
            <a:off x="690600" y="980728"/>
            <a:ext cx="7985856" cy="18912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2000" dirty="0" err="1">
                <a:latin typeface="Gotham HTF Light"/>
                <a:cs typeface="Gotham HTF Light"/>
              </a:rPr>
              <a:t>Elaborar</a:t>
            </a:r>
            <a:r>
              <a:rPr lang="en-US" sz="2000" dirty="0">
                <a:latin typeface="Gotham HTF Light"/>
                <a:cs typeface="Gotham HTF Light"/>
              </a:rPr>
              <a:t> um </a:t>
            </a:r>
            <a:r>
              <a:rPr lang="en-US" sz="2000" dirty="0" err="1">
                <a:latin typeface="Gotham HTF Light"/>
                <a:cs typeface="Gotham HTF Light"/>
              </a:rPr>
              <a:t>diagrama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sequência</a:t>
            </a:r>
            <a:r>
              <a:rPr lang="en-US" sz="2000" dirty="0">
                <a:latin typeface="Gotham HTF Light"/>
                <a:cs typeface="Gotham HTF Light"/>
              </a:rPr>
              <a:t> para o </a:t>
            </a:r>
            <a:r>
              <a:rPr lang="en-US" sz="2000" dirty="0" err="1">
                <a:latin typeface="Gotham HTF Light"/>
                <a:cs typeface="Gotham HTF Light"/>
              </a:rPr>
              <a:t>cenário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um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abertura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cont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comum</a:t>
            </a:r>
            <a:r>
              <a:rPr lang="en-US" sz="2000" dirty="0">
                <a:latin typeface="Gotham HTF Light"/>
                <a:cs typeface="Gotham HTF Light"/>
              </a:rPr>
              <a:t>. </a:t>
            </a:r>
            <a:r>
              <a:rPr lang="en-US" sz="2000" dirty="0" err="1">
                <a:latin typeface="Gotham HTF Light"/>
                <a:cs typeface="Gotham HTF Light"/>
              </a:rPr>
              <a:t>Esse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processo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irá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utilizar</a:t>
            </a:r>
            <a:r>
              <a:rPr lang="en-US" sz="2000" dirty="0">
                <a:latin typeface="Gotham HTF Light"/>
                <a:cs typeface="Gotham HTF Light"/>
              </a:rPr>
              <a:t> as classes </a:t>
            </a:r>
            <a:r>
              <a:rPr lang="en-US" sz="2000" dirty="0" err="1">
                <a:latin typeface="Gotham HTF Light"/>
                <a:cs typeface="Gotham HTF Light"/>
              </a:rPr>
              <a:t>PessoaFisica</a:t>
            </a:r>
            <a:r>
              <a:rPr lang="en-US" sz="2000" dirty="0">
                <a:latin typeface="Gotham HTF Light"/>
                <a:cs typeface="Gotham HTF Light"/>
              </a:rPr>
              <a:t>, </a:t>
            </a:r>
            <a:r>
              <a:rPr lang="en-US" sz="2000" dirty="0" err="1">
                <a:latin typeface="Gotham HTF Light"/>
                <a:cs typeface="Gotham HTF Light"/>
              </a:rPr>
              <a:t>ContaComum</a:t>
            </a:r>
            <a:r>
              <a:rPr lang="en-US" sz="2000" dirty="0">
                <a:latin typeface="Gotham HTF Light"/>
                <a:cs typeface="Gotham HTF Light"/>
              </a:rPr>
              <a:t> e </a:t>
            </a:r>
            <a:r>
              <a:rPr lang="en-US" sz="2000" dirty="0" err="1">
                <a:latin typeface="Gotham HTF Light"/>
                <a:cs typeface="Gotham HTF Light"/>
              </a:rPr>
              <a:t>Histórico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definidas</a:t>
            </a:r>
            <a:r>
              <a:rPr lang="en-US" sz="2000" dirty="0">
                <a:latin typeface="Gotham HTF Light"/>
                <a:cs typeface="Gotham HTF Light"/>
              </a:rPr>
              <a:t> a </a:t>
            </a:r>
            <a:r>
              <a:rPr lang="en-US" sz="2000" dirty="0" err="1">
                <a:latin typeface="Gotham HTF Light"/>
                <a:cs typeface="Gotham HTF Light"/>
              </a:rPr>
              <a:t>seguir</a:t>
            </a:r>
            <a:r>
              <a:rPr lang="en-US" sz="2000" dirty="0">
                <a:latin typeface="Gotham HTF Light"/>
                <a:cs typeface="Gotham HTF Light"/>
              </a:rPr>
              <a:t>. Como </a:t>
            </a:r>
            <a:r>
              <a:rPr lang="en-US" sz="2000" dirty="0" err="1">
                <a:latin typeface="Gotham HTF Light"/>
                <a:cs typeface="Gotham HTF Light"/>
              </a:rPr>
              <a:t>atores</a:t>
            </a:r>
            <a:r>
              <a:rPr lang="en-US" sz="2000" dirty="0">
                <a:latin typeface="Gotham HTF Light"/>
                <a:cs typeface="Gotham HTF Light"/>
              </a:rPr>
              <a:t> do </a:t>
            </a:r>
            <a:r>
              <a:rPr lang="en-US" sz="2000" dirty="0" err="1">
                <a:latin typeface="Gotham HTF Light"/>
                <a:cs typeface="Gotham HTF Light"/>
              </a:rPr>
              <a:t>processo</a:t>
            </a:r>
            <a:r>
              <a:rPr lang="en-US" sz="2000" dirty="0">
                <a:latin typeface="Gotham HTF Light"/>
                <a:cs typeface="Gotham HTF Light"/>
              </a:rPr>
              <a:t>, </a:t>
            </a:r>
            <a:r>
              <a:rPr lang="en-US" sz="2000" dirty="0" err="1">
                <a:latin typeface="Gotham HTF Light"/>
                <a:cs typeface="Gotham HTF Light"/>
              </a:rPr>
              <a:t>teremos</a:t>
            </a:r>
            <a:r>
              <a:rPr lang="en-US" sz="2000" dirty="0">
                <a:latin typeface="Gotham HTF Light"/>
                <a:cs typeface="Gotham HTF Light"/>
              </a:rPr>
              <a:t> o </a:t>
            </a:r>
            <a:r>
              <a:rPr lang="en-US" sz="2000" dirty="0" err="1">
                <a:latin typeface="Gotham HTF Light"/>
                <a:cs typeface="Gotham HTF Light"/>
              </a:rPr>
              <a:t>Cliente</a:t>
            </a:r>
            <a:r>
              <a:rPr lang="en-US" sz="2000" dirty="0">
                <a:latin typeface="Gotham HTF Light"/>
                <a:cs typeface="Gotham HTF Light"/>
              </a:rPr>
              <a:t> e o Banco.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C1ABC18C-BAA4-AA98-D4E7-B48BCBA9A1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1847" y="3140968"/>
            <a:ext cx="4840306" cy="2986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25479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2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DBDB26C-C482-23E1-2AF0-1F0F37EF6461}"/>
              </a:ext>
            </a:extLst>
          </p:cNvPr>
          <p:cNvSpPr txBox="1"/>
          <p:nvPr/>
        </p:nvSpPr>
        <p:spPr>
          <a:xfrm>
            <a:off x="690600" y="980728"/>
            <a:ext cx="7985856" cy="1429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2000" dirty="0" err="1">
                <a:latin typeface="Gotham HTF Light"/>
                <a:cs typeface="Gotham HTF Light"/>
              </a:rPr>
              <a:t>Faça</a:t>
            </a:r>
            <a:r>
              <a:rPr lang="en-US" sz="2000" dirty="0">
                <a:latin typeface="Gotham HTF Light"/>
                <a:cs typeface="Gotham HTF Light"/>
              </a:rPr>
              <a:t> um </a:t>
            </a:r>
            <a:r>
              <a:rPr lang="en-US" sz="2000" dirty="0" err="1">
                <a:latin typeface="Gotham HTF Light"/>
                <a:cs typeface="Gotham HTF Light"/>
              </a:rPr>
              <a:t>diagrama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sequência</a:t>
            </a:r>
            <a:r>
              <a:rPr lang="en-US" sz="2000" dirty="0">
                <a:latin typeface="Gotham HTF Light"/>
                <a:cs typeface="Gotham HTF Light"/>
              </a:rPr>
              <a:t> para </a:t>
            </a:r>
            <a:r>
              <a:rPr lang="en-US" sz="2000" dirty="0" err="1">
                <a:latin typeface="Gotham HTF Light"/>
                <a:cs typeface="Gotham HTF Light"/>
              </a:rPr>
              <a:t>representar</a:t>
            </a:r>
            <a:r>
              <a:rPr lang="en-US" sz="2000" dirty="0">
                <a:latin typeface="Gotham HTF Light"/>
                <a:cs typeface="Gotham HTF Light"/>
              </a:rPr>
              <a:t> um </a:t>
            </a:r>
            <a:r>
              <a:rPr lang="en-US" sz="2000" dirty="0" err="1">
                <a:latin typeface="Gotham HTF Light"/>
                <a:cs typeface="Gotham HTF Light"/>
              </a:rPr>
              <a:t>cliente</a:t>
            </a:r>
            <a:r>
              <a:rPr lang="en-US" sz="2000" dirty="0">
                <a:latin typeface="Gotham HTF Light"/>
                <a:cs typeface="Gotham HTF Light"/>
              </a:rPr>
              <a:t> que </a:t>
            </a:r>
            <a:r>
              <a:rPr lang="en-US" sz="2000" dirty="0" err="1">
                <a:latin typeface="Gotham HTF Light"/>
                <a:cs typeface="Gotham HTF Light"/>
              </a:rPr>
              <a:t>efetu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um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retirada</a:t>
            </a:r>
            <a:r>
              <a:rPr lang="en-US" sz="2000" dirty="0">
                <a:latin typeface="Gotham HTF Light"/>
                <a:cs typeface="Gotham HTF Light"/>
              </a:rPr>
              <a:t> de R$ 50,00 </a:t>
            </a:r>
            <a:r>
              <a:rPr lang="en-US" sz="2000" dirty="0" err="1">
                <a:latin typeface="Gotham HTF Light"/>
                <a:cs typeface="Gotham HTF Light"/>
              </a:rPr>
              <a:t>em</a:t>
            </a:r>
            <a:r>
              <a:rPr lang="en-US" sz="2000" dirty="0">
                <a:latin typeface="Gotham HTF Light"/>
                <a:cs typeface="Gotham HTF Light"/>
              </a:rPr>
              <a:t> um </a:t>
            </a:r>
            <a:r>
              <a:rPr lang="en-US" sz="2000" dirty="0" err="1">
                <a:latin typeface="Gotham HTF Light"/>
                <a:cs typeface="Gotham HTF Light"/>
              </a:rPr>
              <a:t>caix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eletrônico</a:t>
            </a:r>
            <a:r>
              <a:rPr lang="en-US" sz="2000" dirty="0">
                <a:latin typeface="Gotham HTF Light"/>
                <a:cs typeface="Gotham HTF Light"/>
              </a:rPr>
              <a:t>. A </a:t>
            </a:r>
            <a:r>
              <a:rPr lang="en-US" sz="2000" dirty="0" err="1">
                <a:latin typeface="Gotham HTF Light"/>
                <a:cs typeface="Gotham HTF Light"/>
              </a:rPr>
              <a:t>retirad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deve</a:t>
            </a:r>
            <a:r>
              <a:rPr lang="en-US" sz="2000" dirty="0">
                <a:latin typeface="Gotham HTF Light"/>
                <a:cs typeface="Gotham HTF Light"/>
              </a:rPr>
              <a:t> ser </a:t>
            </a:r>
            <a:r>
              <a:rPr lang="en-US" sz="2000" dirty="0" err="1">
                <a:latin typeface="Gotham HTF Light"/>
                <a:cs typeface="Gotham HTF Light"/>
              </a:rPr>
              <a:t>debitada</a:t>
            </a:r>
            <a:r>
              <a:rPr lang="en-US" sz="2000" dirty="0">
                <a:latin typeface="Gotham HTF Light"/>
                <a:cs typeface="Gotham HTF Light"/>
              </a:rPr>
              <a:t> da </a:t>
            </a:r>
            <a:r>
              <a:rPr lang="en-US" sz="2000" dirty="0" err="1">
                <a:latin typeface="Gotham HTF Light"/>
                <a:cs typeface="Gotham HTF Light"/>
              </a:rPr>
              <a:t>cont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corrente</a:t>
            </a:r>
            <a:r>
              <a:rPr lang="en-US" sz="2000" dirty="0">
                <a:latin typeface="Gotham HTF Light"/>
                <a:cs typeface="Gotham HTF Light"/>
              </a:rPr>
              <a:t> do </a:t>
            </a:r>
            <a:r>
              <a:rPr lang="en-US" sz="2000" dirty="0" err="1">
                <a:latin typeface="Gotham HTF Light"/>
                <a:cs typeface="Gotham HTF Light"/>
              </a:rPr>
              <a:t>cliente</a:t>
            </a:r>
            <a:r>
              <a:rPr lang="en-US" sz="2000" dirty="0">
                <a:latin typeface="Gotham HTF Light"/>
                <a:cs typeface="Gotham HTF Ligh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323338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3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DBDB26C-C482-23E1-2AF0-1F0F37EF6461}"/>
              </a:ext>
            </a:extLst>
          </p:cNvPr>
          <p:cNvSpPr txBox="1"/>
          <p:nvPr/>
        </p:nvSpPr>
        <p:spPr>
          <a:xfrm>
            <a:off x="690600" y="980728"/>
            <a:ext cx="7985856" cy="967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2000" dirty="0">
                <a:latin typeface="Gotham HTF Light"/>
                <a:cs typeface="Gotham HTF Light"/>
              </a:rPr>
              <a:t>Complete o </a:t>
            </a:r>
            <a:r>
              <a:rPr lang="en-US" sz="2000" dirty="0" err="1">
                <a:latin typeface="Gotham HTF Light"/>
                <a:cs typeface="Gotham HTF Light"/>
              </a:rPr>
              <a:t>exercício</a:t>
            </a:r>
            <a:r>
              <a:rPr lang="en-US" sz="2000" dirty="0">
                <a:latin typeface="Gotham HTF Light"/>
                <a:cs typeface="Gotham HTF Light"/>
              </a:rPr>
              <a:t> anterior para </a:t>
            </a:r>
            <a:r>
              <a:rPr lang="en-US" sz="2000" dirty="0" err="1">
                <a:latin typeface="Gotham HTF Light"/>
                <a:cs typeface="Gotham HTF Light"/>
              </a:rPr>
              <a:t>permitir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saques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somente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quando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há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saldo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n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cont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corrente</a:t>
            </a:r>
            <a:r>
              <a:rPr lang="en-US" sz="2000" dirty="0">
                <a:latin typeface="Gotham HTF Light"/>
                <a:cs typeface="Gotham HTF Light"/>
              </a:rPr>
              <a:t> e se o valor do </a:t>
            </a:r>
            <a:r>
              <a:rPr lang="en-US" sz="2000" dirty="0" err="1">
                <a:latin typeface="Gotham HTF Light"/>
                <a:cs typeface="Gotham HTF Light"/>
              </a:rPr>
              <a:t>saque</a:t>
            </a:r>
            <a:r>
              <a:rPr lang="en-US" sz="2000" dirty="0">
                <a:latin typeface="Gotham HTF Light"/>
                <a:cs typeface="Gotham HTF Light"/>
              </a:rPr>
              <a:t> for inferior a R$1.000,00</a:t>
            </a:r>
          </a:p>
        </p:txBody>
      </p:sp>
    </p:spTree>
    <p:extLst>
      <p:ext uri="{BB962C8B-B14F-4D97-AF65-F5344CB8AC3E}">
        <p14:creationId xmlns:p14="http://schemas.microsoft.com/office/powerpoint/2010/main" val="8941338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1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08A3ADD7-4406-CA1B-E799-AF6E6EF9C1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808" y="1052736"/>
            <a:ext cx="8028384" cy="5179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4156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2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7732AA0-D6E7-16BE-31EF-37E1738082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500"/>
          <a:stretch/>
        </p:blipFill>
        <p:spPr>
          <a:xfrm>
            <a:off x="1619672" y="809611"/>
            <a:ext cx="6296025" cy="5643726"/>
          </a:xfrm>
          <a:prstGeom prst="rect">
            <a:avLst/>
          </a:prstGeom>
        </p:spPr>
      </p:pic>
      <p:sp>
        <p:nvSpPr>
          <p:cNvPr id="17" name="Sinal de Multiplicação 16">
            <a:extLst>
              <a:ext uri="{FF2B5EF4-FFF2-40B4-BE49-F238E27FC236}">
                <a16:creationId xmlns:a16="http://schemas.microsoft.com/office/drawing/2014/main" id="{FFB423C6-19D4-ADC4-94DD-87D82F0580E4}"/>
              </a:ext>
            </a:extLst>
          </p:cNvPr>
          <p:cNvSpPr/>
          <p:nvPr/>
        </p:nvSpPr>
        <p:spPr>
          <a:xfrm>
            <a:off x="6948264" y="6165304"/>
            <a:ext cx="288032" cy="216025"/>
          </a:xfrm>
          <a:prstGeom prst="mathMultiply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6519528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3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A9AB2C3C-4493-8823-CAEE-926FD90A2B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6119" y="1340768"/>
            <a:ext cx="5191761" cy="5035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24788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5" name="Arrow: Chevron 2">
            <a:extLst>
              <a:ext uri="{FF2B5EF4-FFF2-40B4-BE49-F238E27FC236}">
                <a16:creationId xmlns:a16="http://schemas.microsoft.com/office/drawing/2014/main" id="{93024CF8-5E30-6A65-D7A4-2A136DC26C50}"/>
              </a:ext>
            </a:extLst>
          </p:cNvPr>
          <p:cNvSpPr/>
          <p:nvPr/>
        </p:nvSpPr>
        <p:spPr>
          <a:xfrm flipH="1">
            <a:off x="2088288" y="1003298"/>
            <a:ext cx="1024758" cy="724163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pt-BR" sz="33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6" name="Freeform: Shape 3">
            <a:extLst>
              <a:ext uri="{FF2B5EF4-FFF2-40B4-BE49-F238E27FC236}">
                <a16:creationId xmlns:a16="http://schemas.microsoft.com/office/drawing/2014/main" id="{DF5D6771-68F7-9330-E82B-96EC36FB9E37}"/>
              </a:ext>
            </a:extLst>
          </p:cNvPr>
          <p:cNvSpPr/>
          <p:nvPr/>
        </p:nvSpPr>
        <p:spPr>
          <a:xfrm flipH="1">
            <a:off x="2919919" y="1003298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defTabSz="914305"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4472C4"/>
                </a:solidFill>
                <a:latin typeface="Gotham HTF"/>
              </a:rPr>
              <a:t>Há dois tipos de utilização desse diagrama, dependendo da fase em que estamos.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5BB3DA5-048D-7A6B-49F3-CBE123F58A8A}"/>
              </a:ext>
            </a:extLst>
          </p:cNvPr>
          <p:cNvSpPr txBox="1"/>
          <p:nvPr/>
        </p:nvSpPr>
        <p:spPr>
          <a:xfrm>
            <a:off x="8342" y="1922886"/>
            <a:ext cx="2645533" cy="1722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4726" indent="-414726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sz="2800" dirty="0">
                <a:latin typeface="Gotham HTF"/>
              </a:rPr>
              <a:t>Os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iagramas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e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sequências</a:t>
            </a:r>
            <a:r>
              <a:rPr lang="pt-BR" sz="2800" dirty="0">
                <a:latin typeface="Gotham HTF"/>
              </a:rPr>
              <a:t> enfatizam a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perspectiva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temporal</a:t>
            </a:r>
            <a:r>
              <a:rPr lang="pt-BR" sz="2800" dirty="0">
                <a:latin typeface="Gotham HTF"/>
              </a:rPr>
              <a:t> 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7015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5" name="Arrow: Chevron 2">
            <a:extLst>
              <a:ext uri="{FF2B5EF4-FFF2-40B4-BE49-F238E27FC236}">
                <a16:creationId xmlns:a16="http://schemas.microsoft.com/office/drawing/2014/main" id="{93024CF8-5E30-6A65-D7A4-2A136DC26C50}"/>
              </a:ext>
            </a:extLst>
          </p:cNvPr>
          <p:cNvSpPr/>
          <p:nvPr/>
        </p:nvSpPr>
        <p:spPr>
          <a:xfrm flipH="1">
            <a:off x="2088288" y="1003298"/>
            <a:ext cx="1024758" cy="724163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pt-BR" sz="33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6" name="Freeform: Shape 3">
            <a:extLst>
              <a:ext uri="{FF2B5EF4-FFF2-40B4-BE49-F238E27FC236}">
                <a16:creationId xmlns:a16="http://schemas.microsoft.com/office/drawing/2014/main" id="{DF5D6771-68F7-9330-E82B-96EC36FB9E37}"/>
              </a:ext>
            </a:extLst>
          </p:cNvPr>
          <p:cNvSpPr/>
          <p:nvPr/>
        </p:nvSpPr>
        <p:spPr>
          <a:xfrm flipH="1">
            <a:off x="2919919" y="1003298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defTabSz="914305"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4472C4"/>
                </a:solidFill>
                <a:latin typeface="Gotham HTF"/>
              </a:rPr>
              <a:t>Há dois tipos de utilização desse diagrama, dependendo da fase em que estamos.</a:t>
            </a:r>
          </a:p>
        </p:txBody>
      </p:sp>
      <p:sp>
        <p:nvSpPr>
          <p:cNvPr id="7" name="Arrow: Chevron 4">
            <a:extLst>
              <a:ext uri="{FF2B5EF4-FFF2-40B4-BE49-F238E27FC236}">
                <a16:creationId xmlns:a16="http://schemas.microsoft.com/office/drawing/2014/main" id="{2B3C0B6D-391F-B685-A15C-C63832A22A33}"/>
              </a:ext>
            </a:extLst>
          </p:cNvPr>
          <p:cNvSpPr/>
          <p:nvPr/>
        </p:nvSpPr>
        <p:spPr>
          <a:xfrm flipH="1">
            <a:off x="2783940" y="1922887"/>
            <a:ext cx="1024758" cy="724163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8" name="Freeform: Shape 5">
            <a:extLst>
              <a:ext uri="{FF2B5EF4-FFF2-40B4-BE49-F238E27FC236}">
                <a16:creationId xmlns:a16="http://schemas.microsoft.com/office/drawing/2014/main" id="{3A042883-B70C-8FCF-7FD1-FE6BB35141BD}"/>
              </a:ext>
            </a:extLst>
          </p:cNvPr>
          <p:cNvSpPr/>
          <p:nvPr/>
        </p:nvSpPr>
        <p:spPr>
          <a:xfrm flipH="1">
            <a:off x="3615571" y="1922887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296644" lvl="1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ED7D31"/>
                </a:solidFill>
                <a:latin typeface="Gotham HTF"/>
              </a:rPr>
              <a:t>Documentação dos casos de uso (diagrama de sequências de eventos do sistema.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5BB3DA5-048D-7A6B-49F3-CBE123F58A8A}"/>
              </a:ext>
            </a:extLst>
          </p:cNvPr>
          <p:cNvSpPr txBox="1"/>
          <p:nvPr/>
        </p:nvSpPr>
        <p:spPr>
          <a:xfrm>
            <a:off x="8342" y="1922886"/>
            <a:ext cx="2645533" cy="1722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4726" indent="-414726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sz="2800" dirty="0">
                <a:latin typeface="Gotham HTF"/>
              </a:rPr>
              <a:t>Os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iagramas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e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sequências</a:t>
            </a:r>
            <a:r>
              <a:rPr lang="pt-BR" sz="2800" dirty="0">
                <a:latin typeface="Gotham HTF"/>
              </a:rPr>
              <a:t> enfatizam a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perspectiva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temporal</a:t>
            </a:r>
            <a:r>
              <a:rPr lang="pt-BR" sz="2800" dirty="0">
                <a:latin typeface="Gotham HTF"/>
              </a:rPr>
              <a:t> 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20565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5" name="Arrow: Chevron 2">
            <a:extLst>
              <a:ext uri="{FF2B5EF4-FFF2-40B4-BE49-F238E27FC236}">
                <a16:creationId xmlns:a16="http://schemas.microsoft.com/office/drawing/2014/main" id="{93024CF8-5E30-6A65-D7A4-2A136DC26C50}"/>
              </a:ext>
            </a:extLst>
          </p:cNvPr>
          <p:cNvSpPr/>
          <p:nvPr/>
        </p:nvSpPr>
        <p:spPr>
          <a:xfrm flipH="1">
            <a:off x="2088288" y="1003298"/>
            <a:ext cx="1024758" cy="724163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pt-BR" sz="33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6" name="Freeform: Shape 3">
            <a:extLst>
              <a:ext uri="{FF2B5EF4-FFF2-40B4-BE49-F238E27FC236}">
                <a16:creationId xmlns:a16="http://schemas.microsoft.com/office/drawing/2014/main" id="{DF5D6771-68F7-9330-E82B-96EC36FB9E37}"/>
              </a:ext>
            </a:extLst>
          </p:cNvPr>
          <p:cNvSpPr/>
          <p:nvPr/>
        </p:nvSpPr>
        <p:spPr>
          <a:xfrm flipH="1">
            <a:off x="2919919" y="1003298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defTabSz="914305"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4472C4"/>
                </a:solidFill>
                <a:latin typeface="Gotham HTF"/>
              </a:rPr>
              <a:t>Há dois tipos de utilização desse diagrama, dependendo da fase em que estamos.</a:t>
            </a:r>
          </a:p>
        </p:txBody>
      </p:sp>
      <p:sp>
        <p:nvSpPr>
          <p:cNvPr id="7" name="Arrow: Chevron 4">
            <a:extLst>
              <a:ext uri="{FF2B5EF4-FFF2-40B4-BE49-F238E27FC236}">
                <a16:creationId xmlns:a16="http://schemas.microsoft.com/office/drawing/2014/main" id="{2B3C0B6D-391F-B685-A15C-C63832A22A33}"/>
              </a:ext>
            </a:extLst>
          </p:cNvPr>
          <p:cNvSpPr/>
          <p:nvPr/>
        </p:nvSpPr>
        <p:spPr>
          <a:xfrm flipH="1">
            <a:off x="2783940" y="1922887"/>
            <a:ext cx="1024758" cy="724163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8" name="Freeform: Shape 5">
            <a:extLst>
              <a:ext uri="{FF2B5EF4-FFF2-40B4-BE49-F238E27FC236}">
                <a16:creationId xmlns:a16="http://schemas.microsoft.com/office/drawing/2014/main" id="{3A042883-B70C-8FCF-7FD1-FE6BB35141BD}"/>
              </a:ext>
            </a:extLst>
          </p:cNvPr>
          <p:cNvSpPr/>
          <p:nvPr/>
        </p:nvSpPr>
        <p:spPr>
          <a:xfrm flipH="1">
            <a:off x="3615571" y="1922887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296644" lvl="1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ED7D31"/>
                </a:solidFill>
                <a:latin typeface="Gotham HTF"/>
              </a:rPr>
              <a:t>Documentação dos casos de uso (diagrama de sequências de eventos do sistema.</a:t>
            </a:r>
          </a:p>
        </p:txBody>
      </p:sp>
      <p:sp>
        <p:nvSpPr>
          <p:cNvPr id="9" name="Arrow: Chevron 6">
            <a:extLst>
              <a:ext uri="{FF2B5EF4-FFF2-40B4-BE49-F238E27FC236}">
                <a16:creationId xmlns:a16="http://schemas.microsoft.com/office/drawing/2014/main" id="{C99E00B5-DC09-2262-77D9-B450EB591EB7}"/>
              </a:ext>
            </a:extLst>
          </p:cNvPr>
          <p:cNvSpPr/>
          <p:nvPr/>
        </p:nvSpPr>
        <p:spPr>
          <a:xfrm flipH="1">
            <a:off x="3479592" y="2842475"/>
            <a:ext cx="1024758" cy="724163"/>
          </a:xfrm>
          <a:prstGeom prst="chevron">
            <a:avLst/>
          </a:prstGeom>
          <a:solidFill>
            <a:srgbClr val="ED26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10" name="Freeform: Shape 7">
            <a:extLst>
              <a:ext uri="{FF2B5EF4-FFF2-40B4-BE49-F238E27FC236}">
                <a16:creationId xmlns:a16="http://schemas.microsoft.com/office/drawing/2014/main" id="{B0CCA10B-18C1-2DD8-5725-E6F5C15898EE}"/>
              </a:ext>
            </a:extLst>
          </p:cNvPr>
          <p:cNvSpPr/>
          <p:nvPr/>
        </p:nvSpPr>
        <p:spPr>
          <a:xfrm flipH="1">
            <a:off x="4311224" y="2842475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296644" lvl="1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ED145B"/>
                </a:solidFill>
                <a:latin typeface="Gotham HTF"/>
              </a:rPr>
              <a:t>Representação das interações entre objetos (camadas).</a:t>
            </a:r>
            <a:endParaRPr lang="en-US" altLang="pt-BR" dirty="0">
              <a:solidFill>
                <a:srgbClr val="ED145B"/>
              </a:solidFill>
              <a:latin typeface="Gotham HTF"/>
            </a:endParaRP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5BB3DA5-048D-7A6B-49F3-CBE123F58A8A}"/>
              </a:ext>
            </a:extLst>
          </p:cNvPr>
          <p:cNvSpPr txBox="1"/>
          <p:nvPr/>
        </p:nvSpPr>
        <p:spPr>
          <a:xfrm>
            <a:off x="8342" y="1922886"/>
            <a:ext cx="2645533" cy="1722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4726" indent="-414726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sz="2800" dirty="0">
                <a:latin typeface="Gotham HTF"/>
              </a:rPr>
              <a:t>Os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iagramas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e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sequências</a:t>
            </a:r>
            <a:r>
              <a:rPr lang="pt-BR" sz="2800" dirty="0">
                <a:latin typeface="Gotham HTF"/>
              </a:rPr>
              <a:t> enfatizam a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perspectiva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temporal</a:t>
            </a:r>
            <a:r>
              <a:rPr lang="pt-BR" sz="2800" dirty="0">
                <a:latin typeface="Gotham HTF"/>
              </a:rPr>
              <a:t> 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08876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48F4020-4A0D-ABF8-F89D-E3E0AE01974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1766B2F9-A9D8-0442-C205-AE51253F929A}"/>
              </a:ext>
            </a:extLst>
          </p:cNvPr>
          <p:cNvGrpSpPr/>
          <p:nvPr/>
        </p:nvGrpSpPr>
        <p:grpSpPr>
          <a:xfrm>
            <a:off x="4378717" y="1673805"/>
            <a:ext cx="3928157" cy="3928157"/>
            <a:chOff x="5838290" y="1088740"/>
            <a:chExt cx="5237542" cy="5237542"/>
          </a:xfrm>
        </p:grpSpPr>
        <p:sp>
          <p:nvSpPr>
            <p:cNvPr id="6" name="Freeform: Shape 31">
              <a:extLst>
                <a:ext uri="{FF2B5EF4-FFF2-40B4-BE49-F238E27FC236}">
                  <a16:creationId xmlns:a16="http://schemas.microsoft.com/office/drawing/2014/main" id="{817A611F-D24B-A9F2-A514-C48D41FC18E6}"/>
                </a:ext>
              </a:extLst>
            </p:cNvPr>
            <p:cNvSpPr>
              <a:spLocks noChangeAspect="1"/>
            </p:cNvSpPr>
            <p:nvPr/>
          </p:nvSpPr>
          <p:spPr>
            <a:xfrm rot="7860000">
              <a:off x="5838290" y="2381992"/>
              <a:ext cx="5237542" cy="2651038"/>
            </a:xfrm>
            <a:custGeom>
              <a:avLst/>
              <a:gdLst>
                <a:gd name="connsiteX0" fmla="*/ 4094712 w 6337426"/>
                <a:gd name="connsiteY0" fmla="*/ 3207756 h 3207756"/>
                <a:gd name="connsiteX1" fmla="*/ 4272279 w 6337426"/>
                <a:gd name="connsiteY1" fmla="*/ 2978421 h 3207756"/>
                <a:gd name="connsiteX2" fmla="*/ 4621089 w 6337426"/>
                <a:gd name="connsiteY2" fmla="*/ 2442407 h 3207756"/>
                <a:gd name="connsiteX3" fmla="*/ 5297235 w 6337426"/>
                <a:gd name="connsiteY3" fmla="*/ 505371 h 3207756"/>
                <a:gd name="connsiteX4" fmla="*/ 5307513 w 6337426"/>
                <a:gd name="connsiteY4" fmla="*/ 369041 h 3207756"/>
                <a:gd name="connsiteX5" fmla="*/ 5409331 w 6337426"/>
                <a:gd name="connsiteY5" fmla="*/ 418018 h 3207756"/>
                <a:gd name="connsiteX6" fmla="*/ 6337426 w 6337426"/>
                <a:gd name="connsiteY6" fmla="*/ 1603878 h 3207756"/>
                <a:gd name="connsiteX7" fmla="*/ 4110991 w 6337426"/>
                <a:gd name="connsiteY7" fmla="*/ 3205541 h 3207756"/>
                <a:gd name="connsiteX8" fmla="*/ 249013 w 6337426"/>
                <a:gd name="connsiteY8" fmla="*/ 2256666 h 3207756"/>
                <a:gd name="connsiteX9" fmla="*/ 0 w 6337426"/>
                <a:gd name="connsiteY9" fmla="*/ 1603878 h 3207756"/>
                <a:gd name="connsiteX10" fmla="*/ 2226435 w 6337426"/>
                <a:gd name="connsiteY10" fmla="*/ 2215 h 3207756"/>
                <a:gd name="connsiteX11" fmla="*/ 2242713 w 6337426"/>
                <a:gd name="connsiteY11" fmla="*/ 0 h 3207756"/>
                <a:gd name="connsiteX12" fmla="*/ 2065147 w 6337426"/>
                <a:gd name="connsiteY12" fmla="*/ 229334 h 3207756"/>
                <a:gd name="connsiteX13" fmla="*/ 1716336 w 6337426"/>
                <a:gd name="connsiteY13" fmla="*/ 765348 h 3207756"/>
                <a:gd name="connsiteX14" fmla="*/ 1040191 w 6337426"/>
                <a:gd name="connsiteY14" fmla="*/ 2702384 h 3207756"/>
                <a:gd name="connsiteX15" fmla="*/ 1029912 w 6337426"/>
                <a:gd name="connsiteY15" fmla="*/ 2838715 h 3207756"/>
                <a:gd name="connsiteX16" fmla="*/ 928095 w 6337426"/>
                <a:gd name="connsiteY16" fmla="*/ 2789739 h 3207756"/>
                <a:gd name="connsiteX17" fmla="*/ 249013 w 6337426"/>
                <a:gd name="connsiteY17" fmla="*/ 2256666 h 320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7756">
                  <a:moveTo>
                    <a:pt x="4094712" y="3207756"/>
                  </a:moveTo>
                  <a:lnTo>
                    <a:pt x="4272279" y="2978421"/>
                  </a:lnTo>
                  <a:cubicBezTo>
                    <a:pt x="4394764" y="2810951"/>
                    <a:pt x="4511712" y="2631854"/>
                    <a:pt x="4621089" y="2442407"/>
                  </a:cubicBezTo>
                  <a:cubicBezTo>
                    <a:pt x="5003909" y="1779345"/>
                    <a:pt x="5230555" y="1099349"/>
                    <a:pt x="5297235" y="505371"/>
                  </a:cubicBezTo>
                  <a:lnTo>
                    <a:pt x="5307513" y="369041"/>
                  </a:lnTo>
                  <a:lnTo>
                    <a:pt x="5409331" y="418018"/>
                  </a:lnTo>
                  <a:cubicBezTo>
                    <a:pt x="5982755" y="721506"/>
                    <a:pt x="6337426" y="1140771"/>
                    <a:pt x="6337426" y="1603878"/>
                  </a:cubicBezTo>
                  <a:cubicBezTo>
                    <a:pt x="6337426" y="2356428"/>
                    <a:pt x="5400875" y="2993206"/>
                    <a:pt x="4110991" y="3205541"/>
                  </a:cubicBezTo>
                  <a:close/>
                  <a:moveTo>
                    <a:pt x="249013" y="2256666"/>
                  </a:moveTo>
                  <a:cubicBezTo>
                    <a:pt x="88668" y="2056025"/>
                    <a:pt x="0" y="1835432"/>
                    <a:pt x="0" y="1603878"/>
                  </a:cubicBezTo>
                  <a:cubicBezTo>
                    <a:pt x="0" y="851329"/>
                    <a:pt x="936551" y="214550"/>
                    <a:pt x="2226435" y="2215"/>
                  </a:cubicBezTo>
                  <a:lnTo>
                    <a:pt x="2242713" y="0"/>
                  </a:lnTo>
                  <a:lnTo>
                    <a:pt x="2065147" y="229334"/>
                  </a:lnTo>
                  <a:cubicBezTo>
                    <a:pt x="1942662" y="396804"/>
                    <a:pt x="1825713" y="575901"/>
                    <a:pt x="1716336" y="765348"/>
                  </a:cubicBezTo>
                  <a:cubicBezTo>
                    <a:pt x="1333517" y="1428410"/>
                    <a:pt x="1106871" y="2108406"/>
                    <a:pt x="1040191" y="2702384"/>
                  </a:cubicBezTo>
                  <a:lnTo>
                    <a:pt x="1029912" y="2838715"/>
                  </a:lnTo>
                  <a:lnTo>
                    <a:pt x="928095" y="2789739"/>
                  </a:lnTo>
                  <a:cubicBezTo>
                    <a:pt x="641382" y="2637995"/>
                    <a:pt x="409359" y="2457306"/>
                    <a:pt x="249013" y="225666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E77117DE-A16A-FD44-52ED-EF36F001A6FF}"/>
                </a:ext>
              </a:extLst>
            </p:cNvPr>
            <p:cNvSpPr>
              <a:spLocks noChangeAspect="1"/>
            </p:cNvSpPr>
            <p:nvPr/>
          </p:nvSpPr>
          <p:spPr>
            <a:xfrm rot="684917">
              <a:off x="5838290" y="2382801"/>
              <a:ext cx="5237542" cy="2649420"/>
            </a:xfrm>
            <a:custGeom>
              <a:avLst/>
              <a:gdLst>
                <a:gd name="connsiteX0" fmla="*/ 5297772 w 6337426"/>
                <a:gd name="connsiteY0" fmla="*/ 363376 h 3205798"/>
                <a:gd name="connsiteX1" fmla="*/ 5409332 w 6337426"/>
                <a:gd name="connsiteY1" fmla="*/ 417038 h 3205798"/>
                <a:gd name="connsiteX2" fmla="*/ 6337426 w 6337426"/>
                <a:gd name="connsiteY2" fmla="*/ 1602899 h 3205798"/>
                <a:gd name="connsiteX3" fmla="*/ 4110991 w 6337426"/>
                <a:gd name="connsiteY3" fmla="*/ 3204562 h 3205798"/>
                <a:gd name="connsiteX4" fmla="*/ 4101908 w 6337426"/>
                <a:gd name="connsiteY4" fmla="*/ 3205798 h 3205798"/>
                <a:gd name="connsiteX5" fmla="*/ 4282212 w 6337426"/>
                <a:gd name="connsiteY5" fmla="*/ 2969408 h 3205798"/>
                <a:gd name="connsiteX6" fmla="*/ 4627128 w 6337426"/>
                <a:gd name="connsiteY6" fmla="*/ 2430880 h 3205798"/>
                <a:gd name="connsiteX7" fmla="*/ 5289217 w 6337426"/>
                <a:gd name="connsiteY7" fmla="*/ 488994 h 3205798"/>
                <a:gd name="connsiteX8" fmla="*/ 1935307 w 6337426"/>
                <a:gd name="connsiteY8" fmla="*/ 57631 h 3205798"/>
                <a:gd name="connsiteX9" fmla="*/ 2226435 w 6337426"/>
                <a:gd name="connsiteY9" fmla="*/ 1236 h 3205798"/>
                <a:gd name="connsiteX10" fmla="*/ 2235517 w 6337426"/>
                <a:gd name="connsiteY10" fmla="*/ 0 h 3205798"/>
                <a:gd name="connsiteX11" fmla="*/ 2055213 w 6337426"/>
                <a:gd name="connsiteY11" fmla="*/ 236391 h 3205798"/>
                <a:gd name="connsiteX12" fmla="*/ 1710296 w 6337426"/>
                <a:gd name="connsiteY12" fmla="*/ 774918 h 3205798"/>
                <a:gd name="connsiteX13" fmla="*/ 1048208 w 6337426"/>
                <a:gd name="connsiteY13" fmla="*/ 2716805 h 3205798"/>
                <a:gd name="connsiteX14" fmla="*/ 1039653 w 6337426"/>
                <a:gd name="connsiteY14" fmla="*/ 2842421 h 3205798"/>
                <a:gd name="connsiteX15" fmla="*/ 928095 w 6337426"/>
                <a:gd name="connsiteY15" fmla="*/ 2788760 h 3205798"/>
                <a:gd name="connsiteX16" fmla="*/ 0 w 6337426"/>
                <a:gd name="connsiteY16" fmla="*/ 1602899 h 3205798"/>
                <a:gd name="connsiteX17" fmla="*/ 1935307 w 6337426"/>
                <a:gd name="connsiteY17" fmla="*/ 57631 h 3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5798">
                  <a:moveTo>
                    <a:pt x="5297772" y="363376"/>
                  </a:moveTo>
                  <a:lnTo>
                    <a:pt x="5409332" y="417038"/>
                  </a:lnTo>
                  <a:cubicBezTo>
                    <a:pt x="5982756" y="720526"/>
                    <a:pt x="6337426" y="1139791"/>
                    <a:pt x="6337426" y="1602899"/>
                  </a:cubicBezTo>
                  <a:cubicBezTo>
                    <a:pt x="6337426" y="2355449"/>
                    <a:pt x="5400875" y="2992227"/>
                    <a:pt x="4110991" y="3204562"/>
                  </a:cubicBezTo>
                  <a:lnTo>
                    <a:pt x="4101908" y="3205798"/>
                  </a:lnTo>
                  <a:lnTo>
                    <a:pt x="4282212" y="2969408"/>
                  </a:lnTo>
                  <a:cubicBezTo>
                    <a:pt x="4403480" y="2801055"/>
                    <a:pt x="4519127" y="2621115"/>
                    <a:pt x="4627128" y="2430880"/>
                  </a:cubicBezTo>
                  <a:cubicBezTo>
                    <a:pt x="5005132" y="1765060"/>
                    <a:pt x="5226843" y="1083440"/>
                    <a:pt x="5289217" y="488994"/>
                  </a:cubicBezTo>
                  <a:close/>
                  <a:moveTo>
                    <a:pt x="1935307" y="57631"/>
                  </a:moveTo>
                  <a:cubicBezTo>
                    <a:pt x="2030082" y="36415"/>
                    <a:pt x="2127213" y="17570"/>
                    <a:pt x="2226435" y="1236"/>
                  </a:cubicBezTo>
                  <a:lnTo>
                    <a:pt x="2235517" y="0"/>
                  </a:lnTo>
                  <a:lnTo>
                    <a:pt x="2055213" y="236391"/>
                  </a:lnTo>
                  <a:cubicBezTo>
                    <a:pt x="1933944" y="404744"/>
                    <a:pt x="1818297" y="584684"/>
                    <a:pt x="1710296" y="774918"/>
                  </a:cubicBezTo>
                  <a:cubicBezTo>
                    <a:pt x="1332293" y="1440739"/>
                    <a:pt x="1110581" y="2122359"/>
                    <a:pt x="1048208" y="2716805"/>
                  </a:cubicBezTo>
                  <a:lnTo>
                    <a:pt x="1039653" y="2842421"/>
                  </a:lnTo>
                  <a:lnTo>
                    <a:pt x="928095" y="2788760"/>
                  </a:lnTo>
                  <a:cubicBezTo>
                    <a:pt x="354670" y="2485272"/>
                    <a:pt x="0" y="2066007"/>
                    <a:pt x="0" y="1602899"/>
                  </a:cubicBezTo>
                  <a:cubicBezTo>
                    <a:pt x="0" y="908238"/>
                    <a:pt x="798008" y="312222"/>
                    <a:pt x="1935307" y="57631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B3121CF6-AF15-7CF2-0027-618033B16F68}"/>
                </a:ext>
              </a:extLst>
            </p:cNvPr>
            <p:cNvSpPr>
              <a:spLocks noChangeAspect="1"/>
            </p:cNvSpPr>
            <p:nvPr/>
          </p:nvSpPr>
          <p:spPr>
            <a:xfrm rot="4260000">
              <a:off x="5838290" y="2381185"/>
              <a:ext cx="5237542" cy="2652651"/>
            </a:xfrm>
            <a:custGeom>
              <a:avLst/>
              <a:gdLst>
                <a:gd name="connsiteX0" fmla="*/ 4087537 w 6337426"/>
                <a:gd name="connsiteY0" fmla="*/ 3209708 h 3209708"/>
                <a:gd name="connsiteX1" fmla="*/ 4262287 w 6337426"/>
                <a:gd name="connsiteY1" fmla="*/ 2987359 h 3209708"/>
                <a:gd name="connsiteX2" fmla="*/ 4614973 w 6337426"/>
                <a:gd name="connsiteY2" fmla="*/ 2453888 h 3209708"/>
                <a:gd name="connsiteX3" fmla="*/ 5305141 w 6337426"/>
                <a:gd name="connsiteY3" fmla="*/ 521803 h 3209708"/>
                <a:gd name="connsiteX4" fmla="*/ 5317302 w 6337426"/>
                <a:gd name="connsiteY4" fmla="*/ 374726 h 3209708"/>
                <a:gd name="connsiteX5" fmla="*/ 5409332 w 6337426"/>
                <a:gd name="connsiteY5" fmla="*/ 418993 h 3209708"/>
                <a:gd name="connsiteX6" fmla="*/ 6337426 w 6337426"/>
                <a:gd name="connsiteY6" fmla="*/ 1604854 h 3209708"/>
                <a:gd name="connsiteX7" fmla="*/ 4110991 w 6337426"/>
                <a:gd name="connsiteY7" fmla="*/ 3206516 h 3209708"/>
                <a:gd name="connsiteX8" fmla="*/ 64377 w 6337426"/>
                <a:gd name="connsiteY8" fmla="*/ 1266868 h 3209708"/>
                <a:gd name="connsiteX9" fmla="*/ 2226435 w 6337426"/>
                <a:gd name="connsiteY9" fmla="*/ 3191 h 3209708"/>
                <a:gd name="connsiteX10" fmla="*/ 2249888 w 6337426"/>
                <a:gd name="connsiteY10" fmla="*/ 0 h 3209708"/>
                <a:gd name="connsiteX11" fmla="*/ 2075138 w 6337426"/>
                <a:gd name="connsiteY11" fmla="*/ 222348 h 3209708"/>
                <a:gd name="connsiteX12" fmla="*/ 1722452 w 6337426"/>
                <a:gd name="connsiteY12" fmla="*/ 755819 h 3209708"/>
                <a:gd name="connsiteX13" fmla="*/ 1032284 w 6337426"/>
                <a:gd name="connsiteY13" fmla="*/ 2687904 h 3209708"/>
                <a:gd name="connsiteX14" fmla="*/ 1020123 w 6337426"/>
                <a:gd name="connsiteY14" fmla="*/ 2834982 h 3209708"/>
                <a:gd name="connsiteX15" fmla="*/ 928095 w 6337426"/>
                <a:gd name="connsiteY15" fmla="*/ 2790715 h 3209708"/>
                <a:gd name="connsiteX16" fmla="*/ 0 w 6337426"/>
                <a:gd name="connsiteY16" fmla="*/ 1604854 h 3209708"/>
                <a:gd name="connsiteX17" fmla="*/ 64377 w 6337426"/>
                <a:gd name="connsiteY17" fmla="*/ 1266868 h 32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9708">
                  <a:moveTo>
                    <a:pt x="4087537" y="3209708"/>
                  </a:moveTo>
                  <a:lnTo>
                    <a:pt x="4262287" y="2987359"/>
                  </a:lnTo>
                  <a:cubicBezTo>
                    <a:pt x="4385983" y="2820781"/>
                    <a:pt x="4504226" y="2642537"/>
                    <a:pt x="4614973" y="2453888"/>
                  </a:cubicBezTo>
                  <a:cubicBezTo>
                    <a:pt x="5002589" y="1793617"/>
                    <a:pt x="5234158" y="1115283"/>
                    <a:pt x="5305141" y="521803"/>
                  </a:cubicBezTo>
                  <a:lnTo>
                    <a:pt x="5317302" y="374726"/>
                  </a:lnTo>
                  <a:lnTo>
                    <a:pt x="5409332" y="418993"/>
                  </a:lnTo>
                  <a:cubicBezTo>
                    <a:pt x="5982756" y="722482"/>
                    <a:pt x="6337426" y="1141747"/>
                    <a:pt x="6337426" y="1604854"/>
                  </a:cubicBezTo>
                  <a:cubicBezTo>
                    <a:pt x="6337426" y="2357404"/>
                    <a:pt x="5400875" y="2994182"/>
                    <a:pt x="4110991" y="3206516"/>
                  </a:cubicBezTo>
                  <a:close/>
                  <a:moveTo>
                    <a:pt x="64377" y="1266868"/>
                  </a:moveTo>
                  <a:cubicBezTo>
                    <a:pt x="296533" y="666418"/>
                    <a:pt x="1134995" y="182859"/>
                    <a:pt x="2226435" y="3191"/>
                  </a:cubicBezTo>
                  <a:lnTo>
                    <a:pt x="2249888" y="0"/>
                  </a:lnTo>
                  <a:lnTo>
                    <a:pt x="2075138" y="222348"/>
                  </a:lnTo>
                  <a:cubicBezTo>
                    <a:pt x="1951443" y="388926"/>
                    <a:pt x="1833199" y="567170"/>
                    <a:pt x="1722452" y="755819"/>
                  </a:cubicBezTo>
                  <a:cubicBezTo>
                    <a:pt x="1334837" y="1416090"/>
                    <a:pt x="1103268" y="2094425"/>
                    <a:pt x="1032284" y="2687904"/>
                  </a:cubicBezTo>
                  <a:lnTo>
                    <a:pt x="1020123" y="2834982"/>
                  </a:lnTo>
                  <a:lnTo>
                    <a:pt x="928095" y="2790715"/>
                  </a:lnTo>
                  <a:cubicBezTo>
                    <a:pt x="354670" y="2487226"/>
                    <a:pt x="0" y="2067961"/>
                    <a:pt x="0" y="1604854"/>
                  </a:cubicBezTo>
                  <a:cubicBezTo>
                    <a:pt x="0" y="1489077"/>
                    <a:pt x="22167" y="1376040"/>
                    <a:pt x="64377" y="1266868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ederal_Govern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A2350B-DF58-9EEE-4BBF-D8DE544C794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929139" y="3168641"/>
            <a:ext cx="871002" cy="872858"/>
            <a:chOff x="8" y="8"/>
            <a:chExt cx="470" cy="471"/>
          </a:xfrm>
          <a:solidFill>
            <a:srgbClr val="7F7F7F"/>
          </a:solidFill>
        </p:grpSpPr>
        <p:sp>
          <p:nvSpPr>
            <p:cNvPr id="10" name="Federal_Government">
              <a:extLst>
                <a:ext uri="{FF2B5EF4-FFF2-40B4-BE49-F238E27FC236}">
                  <a16:creationId xmlns:a16="http://schemas.microsoft.com/office/drawing/2014/main" id="{7442E5CA-81A2-130B-7740-C69E4B80F6F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ederal_Government">
              <a:extLst>
                <a:ext uri="{FF2B5EF4-FFF2-40B4-BE49-F238E27FC236}">
                  <a16:creationId xmlns:a16="http://schemas.microsoft.com/office/drawing/2014/main" id="{3A2651A7-A732-0D0F-0B6B-5339246696E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ederal_Government">
              <a:extLst>
                <a:ext uri="{FF2B5EF4-FFF2-40B4-BE49-F238E27FC236}">
                  <a16:creationId xmlns:a16="http://schemas.microsoft.com/office/drawing/2014/main" id="{783AC9CE-A6D9-11DB-F5EA-10037A58F8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ederal_Government">
              <a:extLst>
                <a:ext uri="{FF2B5EF4-FFF2-40B4-BE49-F238E27FC236}">
                  <a16:creationId xmlns:a16="http://schemas.microsoft.com/office/drawing/2014/main" id="{AEF892F4-8AC9-43CC-AD94-57429791DB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ederal_Government">
              <a:extLst>
                <a:ext uri="{FF2B5EF4-FFF2-40B4-BE49-F238E27FC236}">
                  <a16:creationId xmlns:a16="http://schemas.microsoft.com/office/drawing/2014/main" id="{6487A5B0-A272-0A12-0540-510A790DE3F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ederal_Government">
              <a:extLst>
                <a:ext uri="{FF2B5EF4-FFF2-40B4-BE49-F238E27FC236}">
                  <a16:creationId xmlns:a16="http://schemas.microsoft.com/office/drawing/2014/main" id="{DB9B0FAE-6121-3041-414B-87FAE5510D5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" name="Competi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D0670C8-3E54-5FC4-C726-E121553C8077}"/>
              </a:ext>
            </a:extLst>
          </p:cNvPr>
          <p:cNvGrpSpPr>
            <a:grpSpLocks noChangeAspect="1"/>
          </p:cNvGrpSpPr>
          <p:nvPr/>
        </p:nvGrpSpPr>
        <p:grpSpPr>
          <a:xfrm>
            <a:off x="5091837" y="4550564"/>
            <a:ext cx="475493" cy="322748"/>
            <a:chOff x="4151313" y="1438275"/>
            <a:chExt cx="874713" cy="593725"/>
          </a:xfrm>
        </p:grpSpPr>
        <p:sp>
          <p:nvSpPr>
            <p:cNvPr id="23" name="Oval 2290">
              <a:extLst>
                <a:ext uri="{FF2B5EF4-FFF2-40B4-BE49-F238E27FC236}">
                  <a16:creationId xmlns:a16="http://schemas.microsoft.com/office/drawing/2014/main" id="{447E086C-0229-C044-F3D3-3BB5C961F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63" y="1438275"/>
              <a:ext cx="98425" cy="98425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val 2293">
              <a:extLst>
                <a:ext uri="{FF2B5EF4-FFF2-40B4-BE49-F238E27FC236}">
                  <a16:creationId xmlns:a16="http://schemas.microsoft.com/office/drawing/2014/main" id="{AFEFBCD1-E299-5427-82AE-9BD5D6EC4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295">
              <a:extLst>
                <a:ext uri="{FF2B5EF4-FFF2-40B4-BE49-F238E27FC236}">
                  <a16:creationId xmlns:a16="http://schemas.microsoft.com/office/drawing/2014/main" id="{60702C78-2149-58B6-49BD-88EE0A3BB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1568450"/>
              <a:ext cx="509588" cy="463550"/>
            </a:xfrm>
            <a:custGeom>
              <a:avLst/>
              <a:gdLst>
                <a:gd name="T0" fmla="*/ 251 w 457"/>
                <a:gd name="T1" fmla="*/ 185 h 416"/>
                <a:gd name="T2" fmla="*/ 289 w 457"/>
                <a:gd name="T3" fmla="*/ 86 h 416"/>
                <a:gd name="T4" fmla="*/ 326 w 457"/>
                <a:gd name="T5" fmla="*/ 135 h 416"/>
                <a:gd name="T6" fmla="*/ 346 w 457"/>
                <a:gd name="T7" fmla="*/ 145 h 416"/>
                <a:gd name="T8" fmla="*/ 352 w 457"/>
                <a:gd name="T9" fmla="*/ 144 h 416"/>
                <a:gd name="T10" fmla="*/ 434 w 457"/>
                <a:gd name="T11" fmla="*/ 126 h 416"/>
                <a:gd name="T12" fmla="*/ 456 w 457"/>
                <a:gd name="T13" fmla="*/ 100 h 416"/>
                <a:gd name="T14" fmla="*/ 425 w 457"/>
                <a:gd name="T15" fmla="*/ 76 h 416"/>
                <a:gd name="T16" fmla="*/ 357 w 457"/>
                <a:gd name="T17" fmla="*/ 91 h 416"/>
                <a:gd name="T18" fmla="*/ 306 w 457"/>
                <a:gd name="T19" fmla="*/ 23 h 416"/>
                <a:gd name="T20" fmla="*/ 259 w 457"/>
                <a:gd name="T21" fmla="*/ 0 h 416"/>
                <a:gd name="T22" fmla="*/ 144 w 457"/>
                <a:gd name="T23" fmla="*/ 0 h 416"/>
                <a:gd name="T24" fmla="*/ 121 w 457"/>
                <a:gd name="T25" fmla="*/ 13 h 416"/>
                <a:gd name="T26" fmla="*/ 79 w 457"/>
                <a:gd name="T27" fmla="*/ 105 h 416"/>
                <a:gd name="T28" fmla="*/ 88 w 457"/>
                <a:gd name="T29" fmla="*/ 139 h 416"/>
                <a:gd name="T30" fmla="*/ 101 w 457"/>
                <a:gd name="T31" fmla="*/ 143 h 416"/>
                <a:gd name="T32" fmla="*/ 123 w 457"/>
                <a:gd name="T33" fmla="*/ 130 h 416"/>
                <a:gd name="T34" fmla="*/ 159 w 457"/>
                <a:gd name="T35" fmla="*/ 52 h 416"/>
                <a:gd name="T36" fmla="*/ 211 w 457"/>
                <a:gd name="T37" fmla="*/ 52 h 416"/>
                <a:gd name="T38" fmla="*/ 130 w 457"/>
                <a:gd name="T39" fmla="*/ 266 h 416"/>
                <a:gd name="T40" fmla="*/ 26 w 457"/>
                <a:gd name="T41" fmla="*/ 266 h 416"/>
                <a:gd name="T42" fmla="*/ 0 w 457"/>
                <a:gd name="T43" fmla="*/ 291 h 416"/>
                <a:gd name="T44" fmla="*/ 26 w 457"/>
                <a:gd name="T45" fmla="*/ 317 h 416"/>
                <a:gd name="T46" fmla="*/ 157 w 457"/>
                <a:gd name="T47" fmla="*/ 317 h 416"/>
                <a:gd name="T48" fmla="*/ 181 w 457"/>
                <a:gd name="T49" fmla="*/ 300 h 416"/>
                <a:gd name="T50" fmla="*/ 209 w 457"/>
                <a:gd name="T51" fmla="*/ 228 h 416"/>
                <a:gd name="T52" fmla="*/ 286 w 457"/>
                <a:gd name="T53" fmla="*/ 295 h 416"/>
                <a:gd name="T54" fmla="*/ 323 w 457"/>
                <a:gd name="T55" fmla="*/ 399 h 416"/>
                <a:gd name="T56" fmla="*/ 347 w 457"/>
                <a:gd name="T57" fmla="*/ 416 h 416"/>
                <a:gd name="T58" fmla="*/ 355 w 457"/>
                <a:gd name="T59" fmla="*/ 415 h 416"/>
                <a:gd name="T60" fmla="*/ 371 w 457"/>
                <a:gd name="T61" fmla="*/ 382 h 416"/>
                <a:gd name="T62" fmla="*/ 326 w 457"/>
                <a:gd name="T63" fmla="*/ 255 h 416"/>
                <a:gd name="T64" fmla="*/ 319 w 457"/>
                <a:gd name="T65" fmla="*/ 244 h 416"/>
                <a:gd name="T66" fmla="*/ 251 w 457"/>
                <a:gd name="T67" fmla="*/ 18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7" h="416">
                  <a:moveTo>
                    <a:pt x="251" y="185"/>
                  </a:moveTo>
                  <a:lnTo>
                    <a:pt x="289" y="86"/>
                  </a:lnTo>
                  <a:lnTo>
                    <a:pt x="326" y="135"/>
                  </a:lnTo>
                  <a:cubicBezTo>
                    <a:pt x="331" y="141"/>
                    <a:pt x="338" y="145"/>
                    <a:pt x="346" y="145"/>
                  </a:cubicBezTo>
                  <a:cubicBezTo>
                    <a:pt x="348" y="145"/>
                    <a:pt x="350" y="145"/>
                    <a:pt x="352" y="144"/>
                  </a:cubicBezTo>
                  <a:lnTo>
                    <a:pt x="434" y="126"/>
                  </a:lnTo>
                  <a:cubicBezTo>
                    <a:pt x="447" y="124"/>
                    <a:pt x="457" y="113"/>
                    <a:pt x="456" y="100"/>
                  </a:cubicBezTo>
                  <a:cubicBezTo>
                    <a:pt x="455" y="84"/>
                    <a:pt x="440" y="73"/>
                    <a:pt x="425" y="76"/>
                  </a:cubicBezTo>
                  <a:lnTo>
                    <a:pt x="357" y="91"/>
                  </a:lnTo>
                  <a:lnTo>
                    <a:pt x="306" y="23"/>
                  </a:lnTo>
                  <a:cubicBezTo>
                    <a:pt x="295" y="9"/>
                    <a:pt x="278" y="0"/>
                    <a:pt x="259" y="0"/>
                  </a:cubicBezTo>
                  <a:lnTo>
                    <a:pt x="144" y="0"/>
                  </a:lnTo>
                  <a:cubicBezTo>
                    <a:pt x="135" y="0"/>
                    <a:pt x="126" y="5"/>
                    <a:pt x="121" y="13"/>
                  </a:cubicBezTo>
                  <a:lnTo>
                    <a:pt x="79" y="105"/>
                  </a:lnTo>
                  <a:cubicBezTo>
                    <a:pt x="72" y="117"/>
                    <a:pt x="76" y="133"/>
                    <a:pt x="88" y="139"/>
                  </a:cubicBezTo>
                  <a:cubicBezTo>
                    <a:pt x="92" y="142"/>
                    <a:pt x="97" y="143"/>
                    <a:pt x="101" y="143"/>
                  </a:cubicBezTo>
                  <a:cubicBezTo>
                    <a:pt x="110" y="143"/>
                    <a:pt x="119" y="138"/>
                    <a:pt x="123" y="130"/>
                  </a:cubicBezTo>
                  <a:lnTo>
                    <a:pt x="159" y="52"/>
                  </a:lnTo>
                  <a:lnTo>
                    <a:pt x="211" y="52"/>
                  </a:lnTo>
                  <a:lnTo>
                    <a:pt x="130" y="266"/>
                  </a:lnTo>
                  <a:lnTo>
                    <a:pt x="26" y="266"/>
                  </a:lnTo>
                  <a:cubicBezTo>
                    <a:pt x="12" y="266"/>
                    <a:pt x="0" y="277"/>
                    <a:pt x="0" y="291"/>
                  </a:cubicBezTo>
                  <a:cubicBezTo>
                    <a:pt x="0" y="306"/>
                    <a:pt x="12" y="317"/>
                    <a:pt x="26" y="317"/>
                  </a:cubicBezTo>
                  <a:lnTo>
                    <a:pt x="157" y="317"/>
                  </a:lnTo>
                  <a:cubicBezTo>
                    <a:pt x="167" y="317"/>
                    <a:pt x="177" y="310"/>
                    <a:pt x="181" y="300"/>
                  </a:cubicBezTo>
                  <a:lnTo>
                    <a:pt x="209" y="228"/>
                  </a:lnTo>
                  <a:lnTo>
                    <a:pt x="286" y="295"/>
                  </a:lnTo>
                  <a:lnTo>
                    <a:pt x="323" y="399"/>
                  </a:lnTo>
                  <a:cubicBezTo>
                    <a:pt x="326" y="410"/>
                    <a:pt x="336" y="416"/>
                    <a:pt x="347" y="416"/>
                  </a:cubicBezTo>
                  <a:cubicBezTo>
                    <a:pt x="350" y="416"/>
                    <a:pt x="352" y="416"/>
                    <a:pt x="355" y="415"/>
                  </a:cubicBezTo>
                  <a:cubicBezTo>
                    <a:pt x="368" y="410"/>
                    <a:pt x="376" y="396"/>
                    <a:pt x="371" y="382"/>
                  </a:cubicBezTo>
                  <a:lnTo>
                    <a:pt x="326" y="255"/>
                  </a:lnTo>
                  <a:cubicBezTo>
                    <a:pt x="325" y="251"/>
                    <a:pt x="322" y="247"/>
                    <a:pt x="319" y="244"/>
                  </a:cubicBezTo>
                  <a:lnTo>
                    <a:pt x="251" y="185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60">
              <a:extLst>
                <a:ext uri="{FF2B5EF4-FFF2-40B4-BE49-F238E27FC236}">
                  <a16:creationId xmlns:a16="http://schemas.microsoft.com/office/drawing/2014/main" id="{1F2C18FF-4DD5-904D-73DC-0ED8A6D9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1566863"/>
              <a:ext cx="800649" cy="465137"/>
            </a:xfrm>
            <a:custGeom>
              <a:avLst/>
              <a:gdLst>
                <a:gd name="connsiteX0" fmla="*/ 469397 w 800649"/>
                <a:gd name="connsiteY0" fmla="*/ 59531 h 465137"/>
                <a:gd name="connsiteX1" fmla="*/ 457836 w 800649"/>
                <a:gd name="connsiteY1" fmla="*/ 84561 h 465137"/>
                <a:gd name="connsiteX2" fmla="*/ 467092 w 800649"/>
                <a:gd name="connsiteY2" fmla="*/ 82519 h 465137"/>
                <a:gd name="connsiteX3" fmla="*/ 500535 w 800649"/>
                <a:gd name="connsiteY3" fmla="*/ 109282 h 465137"/>
                <a:gd name="connsiteX4" fmla="*/ 477125 w 800649"/>
                <a:gd name="connsiteY4" fmla="*/ 138275 h 465137"/>
                <a:gd name="connsiteX5" fmla="*/ 427146 w 800649"/>
                <a:gd name="connsiteY5" fmla="*/ 148640 h 465137"/>
                <a:gd name="connsiteX6" fmla="*/ 419079 w 800649"/>
                <a:gd name="connsiteY6" fmla="*/ 157032 h 465137"/>
                <a:gd name="connsiteX7" fmla="*/ 404723 w 800649"/>
                <a:gd name="connsiteY7" fmla="*/ 160932 h 465137"/>
                <a:gd name="connsiteX8" fmla="*/ 390227 w 800649"/>
                <a:gd name="connsiteY8" fmla="*/ 156475 h 465137"/>
                <a:gd name="connsiteX9" fmla="*/ 390106 w 800649"/>
                <a:gd name="connsiteY9" fmla="*/ 156321 h 465137"/>
                <a:gd name="connsiteX10" fmla="*/ 385713 w 800649"/>
                <a:gd name="connsiteY10" fmla="*/ 157232 h 465137"/>
                <a:gd name="connsiteX11" fmla="*/ 380139 w 800649"/>
                <a:gd name="connsiteY11" fmla="*/ 158347 h 465137"/>
                <a:gd name="connsiteX12" fmla="*/ 357844 w 800649"/>
                <a:gd name="connsiteY12" fmla="*/ 147196 h 465137"/>
                <a:gd name="connsiteX13" fmla="*/ 316597 w 800649"/>
                <a:gd name="connsiteY13" fmla="*/ 93670 h 465137"/>
                <a:gd name="connsiteX14" fmla="*/ 275350 w 800649"/>
                <a:gd name="connsiteY14" fmla="*/ 202952 h 465137"/>
                <a:gd name="connsiteX15" fmla="*/ 350040 w 800649"/>
                <a:gd name="connsiteY15" fmla="*/ 267629 h 465137"/>
                <a:gd name="connsiteX16" fmla="*/ 357844 w 800649"/>
                <a:gd name="connsiteY16" fmla="*/ 279896 h 465137"/>
                <a:gd name="connsiteX17" fmla="*/ 364212 w 800649"/>
                <a:gd name="connsiteY17" fmla="*/ 297992 h 465137"/>
                <a:gd name="connsiteX18" fmla="*/ 437060 w 800649"/>
                <a:gd name="connsiteY18" fmla="*/ 297992 h 465137"/>
                <a:gd name="connsiteX19" fmla="*/ 527380 w 800649"/>
                <a:gd name="connsiteY19" fmla="*/ 59531 h 465137"/>
                <a:gd name="connsiteX20" fmla="*/ 157183 w 800649"/>
                <a:gd name="connsiteY20" fmla="*/ 0 h 465137"/>
                <a:gd name="connsiteX21" fmla="*/ 284268 w 800649"/>
                <a:gd name="connsiteY21" fmla="*/ 0 h 465137"/>
                <a:gd name="connsiteX22" fmla="*/ 335548 w 800649"/>
                <a:gd name="connsiteY22" fmla="*/ 24533 h 465137"/>
                <a:gd name="connsiteX23" fmla="*/ 389886 w 800649"/>
                <a:gd name="connsiteY23" fmla="*/ 97367 h 465137"/>
                <a:gd name="connsiteX24" fmla="*/ 427024 w 800649"/>
                <a:gd name="connsiteY24" fmla="*/ 16073 h 465137"/>
                <a:gd name="connsiteX25" fmla="*/ 452671 w 800649"/>
                <a:gd name="connsiteY25" fmla="*/ 1587 h 465137"/>
                <a:gd name="connsiteX26" fmla="*/ 580904 w 800649"/>
                <a:gd name="connsiteY26" fmla="*/ 1587 h 465137"/>
                <a:gd name="connsiteX27" fmla="*/ 633312 w 800649"/>
                <a:gd name="connsiteY27" fmla="*/ 27216 h 465137"/>
                <a:gd name="connsiteX28" fmla="*/ 690181 w 800649"/>
                <a:gd name="connsiteY28" fmla="*/ 102989 h 465137"/>
                <a:gd name="connsiteX29" fmla="*/ 766006 w 800649"/>
                <a:gd name="connsiteY29" fmla="*/ 86274 h 465137"/>
                <a:gd name="connsiteX30" fmla="*/ 800573 w 800649"/>
                <a:gd name="connsiteY30" fmla="*/ 113017 h 465137"/>
                <a:gd name="connsiteX31" fmla="*/ 776042 w 800649"/>
                <a:gd name="connsiteY31" fmla="*/ 141989 h 465137"/>
                <a:gd name="connsiteX32" fmla="*/ 684606 w 800649"/>
                <a:gd name="connsiteY32" fmla="*/ 162047 h 465137"/>
                <a:gd name="connsiteX33" fmla="*/ 677915 w 800649"/>
                <a:gd name="connsiteY33" fmla="*/ 163161 h 465137"/>
                <a:gd name="connsiteX34" fmla="*/ 655614 w 800649"/>
                <a:gd name="connsiteY34" fmla="*/ 152018 h 465137"/>
                <a:gd name="connsiteX35" fmla="*/ 614356 w 800649"/>
                <a:gd name="connsiteY35" fmla="*/ 97417 h 465137"/>
                <a:gd name="connsiteX36" fmla="*/ 571983 w 800649"/>
                <a:gd name="connsiteY36" fmla="*/ 207733 h 465137"/>
                <a:gd name="connsiteX37" fmla="*/ 647808 w 800649"/>
                <a:gd name="connsiteY37" fmla="*/ 273477 h 465137"/>
                <a:gd name="connsiteX38" fmla="*/ 655614 w 800649"/>
                <a:gd name="connsiteY38" fmla="*/ 285734 h 465137"/>
                <a:gd name="connsiteX39" fmla="*/ 705792 w 800649"/>
                <a:gd name="connsiteY39" fmla="*/ 427251 h 465137"/>
                <a:gd name="connsiteX40" fmla="*/ 687951 w 800649"/>
                <a:gd name="connsiteY40" fmla="*/ 464023 h 465137"/>
                <a:gd name="connsiteX41" fmla="*/ 679030 w 800649"/>
                <a:gd name="connsiteY41" fmla="*/ 465137 h 465137"/>
                <a:gd name="connsiteX42" fmla="*/ 652269 w 800649"/>
                <a:gd name="connsiteY42" fmla="*/ 446194 h 465137"/>
                <a:gd name="connsiteX43" fmla="*/ 611011 w 800649"/>
                <a:gd name="connsiteY43" fmla="*/ 330306 h 465137"/>
                <a:gd name="connsiteX44" fmla="*/ 525150 w 800649"/>
                <a:gd name="connsiteY44" fmla="*/ 255648 h 465137"/>
                <a:gd name="connsiteX45" fmla="*/ 493928 w 800649"/>
                <a:gd name="connsiteY45" fmla="*/ 335878 h 465137"/>
                <a:gd name="connsiteX46" fmla="*/ 467167 w 800649"/>
                <a:gd name="connsiteY46" fmla="*/ 354821 h 465137"/>
                <a:gd name="connsiteX47" fmla="*/ 384209 w 800649"/>
                <a:gd name="connsiteY47" fmla="*/ 354821 h 465137"/>
                <a:gd name="connsiteX48" fmla="*/ 406894 w 800649"/>
                <a:gd name="connsiteY48" fmla="*/ 419286 h 465137"/>
                <a:gd name="connsiteX49" fmla="*/ 390172 w 800649"/>
                <a:gd name="connsiteY49" fmla="*/ 456085 h 465137"/>
                <a:gd name="connsiteX50" fmla="*/ 381254 w 800649"/>
                <a:gd name="connsiteY50" fmla="*/ 457200 h 465137"/>
                <a:gd name="connsiteX51" fmla="*/ 354500 w 800649"/>
                <a:gd name="connsiteY51" fmla="*/ 438243 h 465137"/>
                <a:gd name="connsiteX52" fmla="*/ 325352 w 800649"/>
                <a:gd name="connsiteY52" fmla="*/ 354821 h 465137"/>
                <a:gd name="connsiteX53" fmla="*/ 321092 w 800649"/>
                <a:gd name="connsiteY53" fmla="*/ 354821 h 465137"/>
                <a:gd name="connsiteX54" fmla="*/ 292100 w 800649"/>
                <a:gd name="connsiteY54" fmla="*/ 325849 h 465137"/>
                <a:gd name="connsiteX55" fmla="*/ 298952 w 800649"/>
                <a:gd name="connsiteY55" fmla="*/ 310168 h 465137"/>
                <a:gd name="connsiteX56" fmla="*/ 228529 w 800649"/>
                <a:gd name="connsiteY56" fmla="*/ 249787 h 465137"/>
                <a:gd name="connsiteX57" fmla="*/ 198430 w 800649"/>
                <a:gd name="connsiteY57" fmla="*/ 330076 h 465137"/>
                <a:gd name="connsiteX58" fmla="*/ 171676 w 800649"/>
                <a:gd name="connsiteY58" fmla="*/ 347918 h 465137"/>
                <a:gd name="connsiteX59" fmla="*/ 27869 w 800649"/>
                <a:gd name="connsiteY59" fmla="*/ 347918 h 465137"/>
                <a:gd name="connsiteX60" fmla="*/ 0 w 800649"/>
                <a:gd name="connsiteY60" fmla="*/ 320040 h 465137"/>
                <a:gd name="connsiteX61" fmla="*/ 27869 w 800649"/>
                <a:gd name="connsiteY61" fmla="*/ 292162 h 465137"/>
                <a:gd name="connsiteX62" fmla="*/ 141577 w 800649"/>
                <a:gd name="connsiteY62" fmla="*/ 292162 h 465137"/>
                <a:gd name="connsiteX63" fmla="*/ 230759 w 800649"/>
                <a:gd name="connsiteY63" fmla="*/ 55756 h 465137"/>
                <a:gd name="connsiteX64" fmla="*/ 173905 w 800649"/>
                <a:gd name="connsiteY64" fmla="*/ 55756 h 465137"/>
                <a:gd name="connsiteX65" fmla="*/ 134888 w 800649"/>
                <a:gd name="connsiteY65" fmla="*/ 141621 h 465137"/>
                <a:gd name="connsiteX66" fmla="*/ 110363 w 800649"/>
                <a:gd name="connsiteY66" fmla="*/ 156117 h 465137"/>
                <a:gd name="connsiteX67" fmla="*/ 96985 w 800649"/>
                <a:gd name="connsiteY67" fmla="*/ 152772 h 465137"/>
                <a:gd name="connsiteX68" fmla="*/ 85838 w 800649"/>
                <a:gd name="connsiteY68" fmla="*/ 114858 h 465137"/>
                <a:gd name="connsiteX69" fmla="*/ 132658 w 800649"/>
                <a:gd name="connsiteY69" fmla="*/ 14497 h 465137"/>
                <a:gd name="connsiteX70" fmla="*/ 157183 w 800649"/>
                <a:gd name="connsiteY70" fmla="*/ 0 h 4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00649" h="465137">
                  <a:moveTo>
                    <a:pt x="469397" y="59531"/>
                  </a:moveTo>
                  <a:lnTo>
                    <a:pt x="457836" y="84561"/>
                  </a:lnTo>
                  <a:lnTo>
                    <a:pt x="467092" y="82519"/>
                  </a:lnTo>
                  <a:cubicBezTo>
                    <a:pt x="483814" y="79174"/>
                    <a:pt x="499421" y="91440"/>
                    <a:pt x="500535" y="109282"/>
                  </a:cubicBezTo>
                  <a:cubicBezTo>
                    <a:pt x="501650" y="122663"/>
                    <a:pt x="490502" y="134930"/>
                    <a:pt x="477125" y="138275"/>
                  </a:cubicBezTo>
                  <a:lnTo>
                    <a:pt x="427146" y="148640"/>
                  </a:lnTo>
                  <a:lnTo>
                    <a:pt x="419079" y="157032"/>
                  </a:lnTo>
                  <a:cubicBezTo>
                    <a:pt x="414758" y="159539"/>
                    <a:pt x="409741" y="160932"/>
                    <a:pt x="404723" y="160932"/>
                  </a:cubicBezTo>
                  <a:cubicBezTo>
                    <a:pt x="400262" y="160932"/>
                    <a:pt x="394687" y="159818"/>
                    <a:pt x="390227" y="156475"/>
                  </a:cubicBezTo>
                  <a:lnTo>
                    <a:pt x="390106" y="156321"/>
                  </a:lnTo>
                  <a:lnTo>
                    <a:pt x="385713" y="157232"/>
                  </a:lnTo>
                  <a:cubicBezTo>
                    <a:pt x="384599" y="158347"/>
                    <a:pt x="382369" y="158347"/>
                    <a:pt x="380139" y="158347"/>
                  </a:cubicBezTo>
                  <a:cubicBezTo>
                    <a:pt x="371221" y="158347"/>
                    <a:pt x="363418" y="153887"/>
                    <a:pt x="357844" y="147196"/>
                  </a:cubicBezTo>
                  <a:lnTo>
                    <a:pt x="316597" y="93670"/>
                  </a:lnTo>
                  <a:lnTo>
                    <a:pt x="275350" y="202952"/>
                  </a:lnTo>
                  <a:lnTo>
                    <a:pt x="350040" y="267629"/>
                  </a:lnTo>
                  <a:cubicBezTo>
                    <a:pt x="353385" y="270975"/>
                    <a:pt x="356729" y="275435"/>
                    <a:pt x="357844" y="279896"/>
                  </a:cubicBezTo>
                  <a:lnTo>
                    <a:pt x="364212" y="297992"/>
                  </a:lnTo>
                  <a:lnTo>
                    <a:pt x="437060" y="297992"/>
                  </a:lnTo>
                  <a:lnTo>
                    <a:pt x="527380" y="59531"/>
                  </a:lnTo>
                  <a:close/>
                  <a:moveTo>
                    <a:pt x="157183" y="0"/>
                  </a:moveTo>
                  <a:lnTo>
                    <a:pt x="284268" y="0"/>
                  </a:lnTo>
                  <a:cubicBezTo>
                    <a:pt x="304335" y="0"/>
                    <a:pt x="323286" y="8921"/>
                    <a:pt x="335548" y="24533"/>
                  </a:cubicBezTo>
                  <a:lnTo>
                    <a:pt x="389886" y="97367"/>
                  </a:lnTo>
                  <a:lnTo>
                    <a:pt x="427024" y="16073"/>
                  </a:lnTo>
                  <a:cubicBezTo>
                    <a:pt x="432599" y="7159"/>
                    <a:pt x="442635" y="1587"/>
                    <a:pt x="452671" y="1587"/>
                  </a:cubicBezTo>
                  <a:lnTo>
                    <a:pt x="580904" y="1587"/>
                  </a:lnTo>
                  <a:cubicBezTo>
                    <a:pt x="602090" y="1587"/>
                    <a:pt x="621047" y="11616"/>
                    <a:pt x="633312" y="27216"/>
                  </a:cubicBezTo>
                  <a:lnTo>
                    <a:pt x="690181" y="102989"/>
                  </a:lnTo>
                  <a:lnTo>
                    <a:pt x="766006" y="86274"/>
                  </a:lnTo>
                  <a:cubicBezTo>
                    <a:pt x="782732" y="82931"/>
                    <a:pt x="799458" y="95189"/>
                    <a:pt x="800573" y="113017"/>
                  </a:cubicBezTo>
                  <a:cubicBezTo>
                    <a:pt x="801688" y="127503"/>
                    <a:pt x="790538" y="139761"/>
                    <a:pt x="776042" y="141989"/>
                  </a:cubicBezTo>
                  <a:lnTo>
                    <a:pt x="684606" y="162047"/>
                  </a:lnTo>
                  <a:cubicBezTo>
                    <a:pt x="682376" y="163161"/>
                    <a:pt x="680145" y="163161"/>
                    <a:pt x="677915" y="163161"/>
                  </a:cubicBezTo>
                  <a:cubicBezTo>
                    <a:pt x="668995" y="163161"/>
                    <a:pt x="661189" y="158704"/>
                    <a:pt x="655614" y="152018"/>
                  </a:cubicBezTo>
                  <a:lnTo>
                    <a:pt x="614356" y="97417"/>
                  </a:lnTo>
                  <a:lnTo>
                    <a:pt x="571983" y="207733"/>
                  </a:lnTo>
                  <a:lnTo>
                    <a:pt x="647808" y="273477"/>
                  </a:lnTo>
                  <a:cubicBezTo>
                    <a:pt x="651153" y="276820"/>
                    <a:pt x="654499" y="281277"/>
                    <a:pt x="655614" y="285734"/>
                  </a:cubicBezTo>
                  <a:lnTo>
                    <a:pt x="705792" y="427251"/>
                  </a:lnTo>
                  <a:cubicBezTo>
                    <a:pt x="711367" y="442851"/>
                    <a:pt x="702447" y="458451"/>
                    <a:pt x="687951" y="464023"/>
                  </a:cubicBezTo>
                  <a:cubicBezTo>
                    <a:pt x="684606" y="465137"/>
                    <a:pt x="682376" y="465137"/>
                    <a:pt x="679030" y="465137"/>
                  </a:cubicBezTo>
                  <a:cubicBezTo>
                    <a:pt x="666764" y="465137"/>
                    <a:pt x="655614" y="458451"/>
                    <a:pt x="652269" y="446194"/>
                  </a:cubicBezTo>
                  <a:lnTo>
                    <a:pt x="611011" y="330306"/>
                  </a:lnTo>
                  <a:lnTo>
                    <a:pt x="525150" y="255648"/>
                  </a:lnTo>
                  <a:lnTo>
                    <a:pt x="493928" y="335878"/>
                  </a:lnTo>
                  <a:cubicBezTo>
                    <a:pt x="489468" y="347021"/>
                    <a:pt x="478317" y="354821"/>
                    <a:pt x="467167" y="354821"/>
                  </a:cubicBezTo>
                  <a:lnTo>
                    <a:pt x="384209" y="354821"/>
                  </a:lnTo>
                  <a:lnTo>
                    <a:pt x="406894" y="419286"/>
                  </a:lnTo>
                  <a:cubicBezTo>
                    <a:pt x="412468" y="434898"/>
                    <a:pt x="404665" y="450509"/>
                    <a:pt x="390172" y="456085"/>
                  </a:cubicBezTo>
                  <a:cubicBezTo>
                    <a:pt x="386828" y="457200"/>
                    <a:pt x="383484" y="457200"/>
                    <a:pt x="381254" y="457200"/>
                  </a:cubicBezTo>
                  <a:cubicBezTo>
                    <a:pt x="368992" y="457200"/>
                    <a:pt x="357844" y="449394"/>
                    <a:pt x="354500" y="438243"/>
                  </a:cubicBezTo>
                  <a:lnTo>
                    <a:pt x="325352" y="354821"/>
                  </a:lnTo>
                  <a:lnTo>
                    <a:pt x="321092" y="354821"/>
                  </a:lnTo>
                  <a:cubicBezTo>
                    <a:pt x="305481" y="354821"/>
                    <a:pt x="292100" y="342564"/>
                    <a:pt x="292100" y="325849"/>
                  </a:cubicBezTo>
                  <a:lnTo>
                    <a:pt x="298952" y="310168"/>
                  </a:lnTo>
                  <a:lnTo>
                    <a:pt x="228529" y="249787"/>
                  </a:lnTo>
                  <a:lnTo>
                    <a:pt x="198430" y="330076"/>
                  </a:lnTo>
                  <a:cubicBezTo>
                    <a:pt x="193971" y="340112"/>
                    <a:pt x="183938" y="347918"/>
                    <a:pt x="171676" y="347918"/>
                  </a:cubicBezTo>
                  <a:lnTo>
                    <a:pt x="27869" y="347918"/>
                  </a:lnTo>
                  <a:cubicBezTo>
                    <a:pt x="12262" y="347918"/>
                    <a:pt x="0" y="335652"/>
                    <a:pt x="0" y="320040"/>
                  </a:cubicBezTo>
                  <a:cubicBezTo>
                    <a:pt x="0" y="304428"/>
                    <a:pt x="12262" y="292162"/>
                    <a:pt x="27869" y="292162"/>
                  </a:cubicBezTo>
                  <a:lnTo>
                    <a:pt x="141577" y="292162"/>
                  </a:lnTo>
                  <a:lnTo>
                    <a:pt x="230759" y="55756"/>
                  </a:lnTo>
                  <a:lnTo>
                    <a:pt x="173905" y="55756"/>
                  </a:lnTo>
                  <a:lnTo>
                    <a:pt x="134888" y="141621"/>
                  </a:lnTo>
                  <a:cubicBezTo>
                    <a:pt x="130429" y="151657"/>
                    <a:pt x="120396" y="156117"/>
                    <a:pt x="110363" y="156117"/>
                  </a:cubicBezTo>
                  <a:cubicBezTo>
                    <a:pt x="105904" y="156117"/>
                    <a:pt x="101445" y="155002"/>
                    <a:pt x="96985" y="152772"/>
                  </a:cubicBezTo>
                  <a:cubicBezTo>
                    <a:pt x="83608" y="144966"/>
                    <a:pt x="78034" y="128239"/>
                    <a:pt x="85838" y="114858"/>
                  </a:cubicBezTo>
                  <a:lnTo>
                    <a:pt x="132658" y="14497"/>
                  </a:lnTo>
                  <a:cubicBezTo>
                    <a:pt x="138232" y="5576"/>
                    <a:pt x="147150" y="0"/>
                    <a:pt x="157183" y="0"/>
                  </a:cubicBez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Oval 2297">
              <a:extLst>
                <a:ext uri="{FF2B5EF4-FFF2-40B4-BE49-F238E27FC236}">
                  <a16:creationId xmlns:a16="http://schemas.microsoft.com/office/drawing/2014/main" id="{4229104F-1BB2-5DC5-8F94-905BDBEC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98">
              <a:extLst>
                <a:ext uri="{FF2B5EF4-FFF2-40B4-BE49-F238E27FC236}">
                  <a16:creationId xmlns:a16="http://schemas.microsoft.com/office/drawing/2014/main" id="{AEE5556B-57C0-AB0F-33C2-0AA705B69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26" y="1733550"/>
              <a:ext cx="152400" cy="127000"/>
            </a:xfrm>
            <a:custGeom>
              <a:avLst/>
              <a:gdLst>
                <a:gd name="T0" fmla="*/ 138 w 138"/>
                <a:gd name="T1" fmla="*/ 87 h 113"/>
                <a:gd name="T2" fmla="*/ 19 w 138"/>
                <a:gd name="T3" fmla="*/ 113 h 113"/>
                <a:gd name="T4" fmla="*/ 0 w 138"/>
                <a:gd name="T5" fmla="*/ 26 h 113"/>
                <a:gd name="T6" fmla="*/ 119 w 138"/>
                <a:gd name="T7" fmla="*/ 0 h 113"/>
                <a:gd name="T8" fmla="*/ 138 w 138"/>
                <a:gd name="T9" fmla="*/ 8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13">
                  <a:moveTo>
                    <a:pt x="138" y="87"/>
                  </a:moveTo>
                  <a:lnTo>
                    <a:pt x="19" y="113"/>
                  </a:lnTo>
                  <a:lnTo>
                    <a:pt x="0" y="26"/>
                  </a:lnTo>
                  <a:lnTo>
                    <a:pt x="119" y="0"/>
                  </a:lnTo>
                  <a:lnTo>
                    <a:pt x="138" y="87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nstruc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812795-0096-082D-1073-DC0A4281AE55}"/>
              </a:ext>
            </a:extLst>
          </p:cNvPr>
          <p:cNvGrpSpPr>
            <a:grpSpLocks noChangeAspect="1"/>
          </p:cNvGrpSpPr>
          <p:nvPr/>
        </p:nvGrpSpPr>
        <p:grpSpPr>
          <a:xfrm>
            <a:off x="4735424" y="2982043"/>
            <a:ext cx="359245" cy="429377"/>
            <a:chOff x="8158164" y="1847851"/>
            <a:chExt cx="398462" cy="476250"/>
          </a:xfrm>
          <a:solidFill>
            <a:schemeClr val="lt1"/>
          </a:solidFill>
        </p:grpSpPr>
        <p:sp>
          <p:nvSpPr>
            <p:cNvPr id="30" name="Freeform 527">
              <a:extLst>
                <a:ext uri="{FF2B5EF4-FFF2-40B4-BE49-F238E27FC236}">
                  <a16:creationId xmlns:a16="http://schemas.microsoft.com/office/drawing/2014/main" id="{C47C394B-9A7B-E1DE-0AE2-3FDAD6C33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01" y="2117726"/>
              <a:ext cx="161925" cy="204788"/>
            </a:xfrm>
            <a:custGeom>
              <a:avLst/>
              <a:gdLst>
                <a:gd name="T0" fmla="*/ 202 w 202"/>
                <a:gd name="T1" fmla="*/ 255 h 255"/>
                <a:gd name="T2" fmla="*/ 185 w 202"/>
                <a:gd name="T3" fmla="*/ 255 h 255"/>
                <a:gd name="T4" fmla="*/ 185 w 202"/>
                <a:gd name="T5" fmla="*/ 170 h 255"/>
                <a:gd name="T6" fmla="*/ 127 w 202"/>
                <a:gd name="T7" fmla="*/ 104 h 255"/>
                <a:gd name="T8" fmla="*/ 51 w 202"/>
                <a:gd name="T9" fmla="*/ 81 h 255"/>
                <a:gd name="T10" fmla="*/ 25 w 202"/>
                <a:gd name="T11" fmla="*/ 67 h 255"/>
                <a:gd name="T12" fmla="*/ 0 w 202"/>
                <a:gd name="T13" fmla="*/ 12 h 255"/>
                <a:gd name="T14" fmla="*/ 0 w 202"/>
                <a:gd name="T15" fmla="*/ 0 h 255"/>
                <a:gd name="T16" fmla="*/ 16 w 202"/>
                <a:gd name="T17" fmla="*/ 0 h 255"/>
                <a:gd name="T18" fmla="*/ 16 w 202"/>
                <a:gd name="T19" fmla="*/ 12 h 255"/>
                <a:gd name="T20" fmla="*/ 36 w 202"/>
                <a:gd name="T21" fmla="*/ 55 h 255"/>
                <a:gd name="T22" fmla="*/ 56 w 202"/>
                <a:gd name="T23" fmla="*/ 65 h 255"/>
                <a:gd name="T24" fmla="*/ 131 w 202"/>
                <a:gd name="T25" fmla="*/ 88 h 255"/>
                <a:gd name="T26" fmla="*/ 202 w 202"/>
                <a:gd name="T27" fmla="*/ 168 h 255"/>
                <a:gd name="T28" fmla="*/ 202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202" y="255"/>
                  </a:moveTo>
                  <a:lnTo>
                    <a:pt x="185" y="255"/>
                  </a:lnTo>
                  <a:lnTo>
                    <a:pt x="185" y="170"/>
                  </a:lnTo>
                  <a:cubicBezTo>
                    <a:pt x="180" y="140"/>
                    <a:pt x="157" y="113"/>
                    <a:pt x="127" y="104"/>
                  </a:cubicBezTo>
                  <a:lnTo>
                    <a:pt x="51" y="81"/>
                  </a:lnTo>
                  <a:cubicBezTo>
                    <a:pt x="42" y="78"/>
                    <a:pt x="33" y="74"/>
                    <a:pt x="25" y="67"/>
                  </a:cubicBezTo>
                  <a:cubicBezTo>
                    <a:pt x="9" y="53"/>
                    <a:pt x="0" y="33"/>
                    <a:pt x="0" y="1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"/>
                  </a:lnTo>
                  <a:cubicBezTo>
                    <a:pt x="16" y="28"/>
                    <a:pt x="24" y="44"/>
                    <a:pt x="36" y="55"/>
                  </a:cubicBezTo>
                  <a:cubicBezTo>
                    <a:pt x="42" y="59"/>
                    <a:pt x="49" y="63"/>
                    <a:pt x="56" y="65"/>
                  </a:cubicBezTo>
                  <a:lnTo>
                    <a:pt x="131" y="88"/>
                  </a:lnTo>
                  <a:cubicBezTo>
                    <a:pt x="168" y="99"/>
                    <a:pt x="196" y="131"/>
                    <a:pt x="202" y="168"/>
                  </a:cubicBezTo>
                  <a:lnTo>
                    <a:pt x="202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528">
              <a:extLst>
                <a:ext uri="{FF2B5EF4-FFF2-40B4-BE49-F238E27FC236}">
                  <a16:creationId xmlns:a16="http://schemas.microsoft.com/office/drawing/2014/main" id="{3C816EBB-32FD-B739-4B2F-3AA9D1F3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64" y="2117726"/>
              <a:ext cx="161925" cy="204788"/>
            </a:xfrm>
            <a:custGeom>
              <a:avLst/>
              <a:gdLst>
                <a:gd name="T0" fmla="*/ 16 w 202"/>
                <a:gd name="T1" fmla="*/ 255 h 255"/>
                <a:gd name="T2" fmla="*/ 0 w 202"/>
                <a:gd name="T3" fmla="*/ 255 h 255"/>
                <a:gd name="T4" fmla="*/ 0 w 202"/>
                <a:gd name="T5" fmla="*/ 171 h 255"/>
                <a:gd name="T6" fmla="*/ 70 w 202"/>
                <a:gd name="T7" fmla="*/ 88 h 255"/>
                <a:gd name="T8" fmla="*/ 145 w 202"/>
                <a:gd name="T9" fmla="*/ 65 h 255"/>
                <a:gd name="T10" fmla="*/ 166 w 202"/>
                <a:gd name="T11" fmla="*/ 54 h 255"/>
                <a:gd name="T12" fmla="*/ 185 w 202"/>
                <a:gd name="T13" fmla="*/ 11 h 255"/>
                <a:gd name="T14" fmla="*/ 185 w 202"/>
                <a:gd name="T15" fmla="*/ 0 h 255"/>
                <a:gd name="T16" fmla="*/ 202 w 202"/>
                <a:gd name="T17" fmla="*/ 0 h 255"/>
                <a:gd name="T18" fmla="*/ 202 w 202"/>
                <a:gd name="T19" fmla="*/ 11 h 255"/>
                <a:gd name="T20" fmla="*/ 177 w 202"/>
                <a:gd name="T21" fmla="*/ 66 h 255"/>
                <a:gd name="T22" fmla="*/ 150 w 202"/>
                <a:gd name="T23" fmla="*/ 81 h 255"/>
                <a:gd name="T24" fmla="*/ 75 w 202"/>
                <a:gd name="T25" fmla="*/ 104 h 255"/>
                <a:gd name="T26" fmla="*/ 16 w 202"/>
                <a:gd name="T27" fmla="*/ 173 h 255"/>
                <a:gd name="T28" fmla="*/ 16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16" y="255"/>
                  </a:moveTo>
                  <a:lnTo>
                    <a:pt x="0" y="255"/>
                  </a:lnTo>
                  <a:lnTo>
                    <a:pt x="0" y="171"/>
                  </a:lnTo>
                  <a:cubicBezTo>
                    <a:pt x="5" y="132"/>
                    <a:pt x="33" y="99"/>
                    <a:pt x="70" y="88"/>
                  </a:cubicBezTo>
                  <a:lnTo>
                    <a:pt x="145" y="65"/>
                  </a:lnTo>
                  <a:cubicBezTo>
                    <a:pt x="153" y="63"/>
                    <a:pt x="160" y="59"/>
                    <a:pt x="166" y="54"/>
                  </a:cubicBezTo>
                  <a:cubicBezTo>
                    <a:pt x="178" y="43"/>
                    <a:pt x="185" y="28"/>
                    <a:pt x="185" y="11"/>
                  </a:cubicBezTo>
                  <a:lnTo>
                    <a:pt x="185" y="0"/>
                  </a:lnTo>
                  <a:lnTo>
                    <a:pt x="202" y="0"/>
                  </a:lnTo>
                  <a:lnTo>
                    <a:pt x="202" y="11"/>
                  </a:lnTo>
                  <a:cubicBezTo>
                    <a:pt x="202" y="32"/>
                    <a:pt x="193" y="52"/>
                    <a:pt x="177" y="66"/>
                  </a:cubicBezTo>
                  <a:cubicBezTo>
                    <a:pt x="169" y="73"/>
                    <a:pt x="160" y="78"/>
                    <a:pt x="150" y="81"/>
                  </a:cubicBezTo>
                  <a:lnTo>
                    <a:pt x="75" y="104"/>
                  </a:lnTo>
                  <a:cubicBezTo>
                    <a:pt x="44" y="113"/>
                    <a:pt x="21" y="140"/>
                    <a:pt x="16" y="173"/>
                  </a:cubicBezTo>
                  <a:lnTo>
                    <a:pt x="16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8" name="Freeform 529">
              <a:extLst>
                <a:ext uri="{FF2B5EF4-FFF2-40B4-BE49-F238E27FC236}">
                  <a16:creationId xmlns:a16="http://schemas.microsoft.com/office/drawing/2014/main" id="{293476E4-40D8-9A98-B3B8-E25F837A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1985963"/>
              <a:ext cx="165100" cy="158750"/>
            </a:xfrm>
            <a:custGeom>
              <a:avLst/>
              <a:gdLst>
                <a:gd name="T0" fmla="*/ 102 w 204"/>
                <a:gd name="T1" fmla="*/ 198 h 198"/>
                <a:gd name="T2" fmla="*/ 66 w 204"/>
                <a:gd name="T3" fmla="*/ 188 h 198"/>
                <a:gd name="T4" fmla="*/ 0 w 204"/>
                <a:gd name="T5" fmla="*/ 105 h 198"/>
                <a:gd name="T6" fmla="*/ 0 w 204"/>
                <a:gd name="T7" fmla="*/ 0 h 198"/>
                <a:gd name="T8" fmla="*/ 17 w 204"/>
                <a:gd name="T9" fmla="*/ 0 h 198"/>
                <a:gd name="T10" fmla="*/ 17 w 204"/>
                <a:gd name="T11" fmla="*/ 105 h 198"/>
                <a:gd name="T12" fmla="*/ 75 w 204"/>
                <a:gd name="T13" fmla="*/ 174 h 198"/>
                <a:gd name="T14" fmla="*/ 129 w 204"/>
                <a:gd name="T15" fmla="*/ 174 h 198"/>
                <a:gd name="T16" fmla="*/ 188 w 204"/>
                <a:gd name="T17" fmla="*/ 105 h 198"/>
                <a:gd name="T18" fmla="*/ 188 w 204"/>
                <a:gd name="T19" fmla="*/ 0 h 198"/>
                <a:gd name="T20" fmla="*/ 204 w 204"/>
                <a:gd name="T21" fmla="*/ 0 h 198"/>
                <a:gd name="T22" fmla="*/ 204 w 204"/>
                <a:gd name="T23" fmla="*/ 105 h 198"/>
                <a:gd name="T24" fmla="*/ 138 w 204"/>
                <a:gd name="T25" fmla="*/ 188 h 198"/>
                <a:gd name="T26" fmla="*/ 102 w 204"/>
                <a:gd name="T2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8">
                  <a:moveTo>
                    <a:pt x="102" y="198"/>
                  </a:moveTo>
                  <a:cubicBezTo>
                    <a:pt x="90" y="198"/>
                    <a:pt x="77" y="195"/>
                    <a:pt x="66" y="188"/>
                  </a:cubicBezTo>
                  <a:cubicBezTo>
                    <a:pt x="36" y="169"/>
                    <a:pt x="0" y="140"/>
                    <a:pt x="0" y="105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05"/>
                  </a:lnTo>
                  <a:cubicBezTo>
                    <a:pt x="17" y="133"/>
                    <a:pt x="53" y="160"/>
                    <a:pt x="75" y="174"/>
                  </a:cubicBezTo>
                  <a:cubicBezTo>
                    <a:pt x="92" y="184"/>
                    <a:pt x="113" y="184"/>
                    <a:pt x="129" y="174"/>
                  </a:cubicBezTo>
                  <a:cubicBezTo>
                    <a:pt x="151" y="160"/>
                    <a:pt x="188" y="133"/>
                    <a:pt x="188" y="105"/>
                  </a:cubicBezTo>
                  <a:lnTo>
                    <a:pt x="188" y="0"/>
                  </a:lnTo>
                  <a:lnTo>
                    <a:pt x="204" y="0"/>
                  </a:lnTo>
                  <a:lnTo>
                    <a:pt x="204" y="105"/>
                  </a:lnTo>
                  <a:cubicBezTo>
                    <a:pt x="204" y="140"/>
                    <a:pt x="168" y="169"/>
                    <a:pt x="138" y="188"/>
                  </a:cubicBezTo>
                  <a:cubicBezTo>
                    <a:pt x="127" y="195"/>
                    <a:pt x="115" y="198"/>
                    <a:pt x="10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9" name="Freeform 530">
              <a:extLst>
                <a:ext uri="{FF2B5EF4-FFF2-40B4-BE49-F238E27FC236}">
                  <a16:creationId xmlns:a16="http://schemas.microsoft.com/office/drawing/2014/main" id="{BB092DB8-B69B-9A25-9247-83DBCC31C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8651" y="1847851"/>
              <a:ext cx="217488" cy="144463"/>
            </a:xfrm>
            <a:custGeom>
              <a:avLst/>
              <a:gdLst>
                <a:gd name="T0" fmla="*/ 17 w 269"/>
                <a:gd name="T1" fmla="*/ 162 h 179"/>
                <a:gd name="T2" fmla="*/ 252 w 269"/>
                <a:gd name="T3" fmla="*/ 162 h 179"/>
                <a:gd name="T4" fmla="*/ 252 w 269"/>
                <a:gd name="T5" fmla="*/ 134 h 179"/>
                <a:gd name="T6" fmla="*/ 134 w 269"/>
                <a:gd name="T7" fmla="*/ 16 h 179"/>
                <a:gd name="T8" fmla="*/ 17 w 269"/>
                <a:gd name="T9" fmla="*/ 134 h 179"/>
                <a:gd name="T10" fmla="*/ 17 w 269"/>
                <a:gd name="T11" fmla="*/ 162 h 179"/>
                <a:gd name="T12" fmla="*/ 269 w 269"/>
                <a:gd name="T13" fmla="*/ 179 h 179"/>
                <a:gd name="T14" fmla="*/ 0 w 269"/>
                <a:gd name="T15" fmla="*/ 179 h 179"/>
                <a:gd name="T16" fmla="*/ 0 w 269"/>
                <a:gd name="T17" fmla="*/ 134 h 179"/>
                <a:gd name="T18" fmla="*/ 134 w 269"/>
                <a:gd name="T19" fmla="*/ 0 h 179"/>
                <a:gd name="T20" fmla="*/ 269 w 269"/>
                <a:gd name="T21" fmla="*/ 134 h 179"/>
                <a:gd name="T22" fmla="*/ 269 w 269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179">
                  <a:moveTo>
                    <a:pt x="17" y="162"/>
                  </a:moveTo>
                  <a:lnTo>
                    <a:pt x="252" y="162"/>
                  </a:lnTo>
                  <a:lnTo>
                    <a:pt x="252" y="134"/>
                  </a:lnTo>
                  <a:cubicBezTo>
                    <a:pt x="252" y="69"/>
                    <a:pt x="199" y="16"/>
                    <a:pt x="134" y="16"/>
                  </a:cubicBezTo>
                  <a:cubicBezTo>
                    <a:pt x="69" y="16"/>
                    <a:pt x="17" y="69"/>
                    <a:pt x="17" y="134"/>
                  </a:cubicBezTo>
                  <a:lnTo>
                    <a:pt x="17" y="162"/>
                  </a:lnTo>
                  <a:close/>
                  <a:moveTo>
                    <a:pt x="269" y="179"/>
                  </a:moveTo>
                  <a:lnTo>
                    <a:pt x="0" y="179"/>
                  </a:lnTo>
                  <a:lnTo>
                    <a:pt x="0" y="134"/>
                  </a:lnTo>
                  <a:cubicBezTo>
                    <a:pt x="0" y="60"/>
                    <a:pt x="60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lnTo>
                    <a:pt x="269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0" name="Rectangle 531">
              <a:extLst>
                <a:ext uri="{FF2B5EF4-FFF2-40B4-BE49-F238E27FC236}">
                  <a16:creationId xmlns:a16="http://schemas.microsoft.com/office/drawing/2014/main" id="{FCD74E17-807F-9E13-F7D6-4F8D12DA7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7539" y="1978026"/>
              <a:ext cx="236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2" name="Freeform 532">
              <a:extLst>
                <a:ext uri="{FF2B5EF4-FFF2-40B4-BE49-F238E27FC236}">
                  <a16:creationId xmlns:a16="http://schemas.microsoft.com/office/drawing/2014/main" id="{9F1B0D63-FCFD-9820-AC31-357FE740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4" y="1854201"/>
              <a:ext cx="42863" cy="71438"/>
            </a:xfrm>
            <a:custGeom>
              <a:avLst/>
              <a:gdLst>
                <a:gd name="T0" fmla="*/ 27 w 27"/>
                <a:gd name="T1" fmla="*/ 45 h 45"/>
                <a:gd name="T2" fmla="*/ 0 w 27"/>
                <a:gd name="T3" fmla="*/ 45 h 45"/>
                <a:gd name="T4" fmla="*/ 0 w 27"/>
                <a:gd name="T5" fmla="*/ 0 h 45"/>
                <a:gd name="T6" fmla="*/ 8 w 27"/>
                <a:gd name="T7" fmla="*/ 0 h 45"/>
                <a:gd name="T8" fmla="*/ 8 w 27"/>
                <a:gd name="T9" fmla="*/ 37 h 45"/>
                <a:gd name="T10" fmla="*/ 18 w 27"/>
                <a:gd name="T11" fmla="*/ 37 h 45"/>
                <a:gd name="T12" fmla="*/ 18 w 27"/>
                <a:gd name="T13" fmla="*/ 0 h 45"/>
                <a:gd name="T14" fmla="*/ 27 w 27"/>
                <a:gd name="T15" fmla="*/ 0 h 45"/>
                <a:gd name="T16" fmla="*/ 27 w 2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5">
                  <a:moveTo>
                    <a:pt x="27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7"/>
                  </a:lnTo>
                  <a:lnTo>
                    <a:pt x="18" y="37"/>
                  </a:lnTo>
                  <a:lnTo>
                    <a:pt x="18" y="0"/>
                  </a:lnTo>
                  <a:lnTo>
                    <a:pt x="27" y="0"/>
                  </a:lnTo>
                  <a:lnTo>
                    <a:pt x="2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3" name="Rectangle 533">
              <a:extLst>
                <a:ext uri="{FF2B5EF4-FFF2-40B4-BE49-F238E27FC236}">
                  <a16:creationId xmlns:a16="http://schemas.microsoft.com/office/drawing/2014/main" id="{C938245E-EC7F-BCEE-F4EB-C1EBA08B4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6901" y="2192338"/>
              <a:ext cx="14288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4" name="Freeform 534">
              <a:extLst>
                <a:ext uri="{FF2B5EF4-FFF2-40B4-BE49-F238E27FC236}">
                  <a16:creationId xmlns:a16="http://schemas.microsoft.com/office/drawing/2014/main" id="{51097A89-A32D-8E0A-BC52-293FFD3F2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6" y="2179638"/>
              <a:ext cx="211138" cy="93663"/>
            </a:xfrm>
            <a:custGeom>
              <a:avLst/>
              <a:gdLst>
                <a:gd name="T0" fmla="*/ 115 w 133"/>
                <a:gd name="T1" fmla="*/ 59 h 59"/>
                <a:gd name="T2" fmla="*/ 18 w 133"/>
                <a:gd name="T3" fmla="*/ 59 h 59"/>
                <a:gd name="T4" fmla="*/ 0 w 133"/>
                <a:gd name="T5" fmla="*/ 3 h 59"/>
                <a:gd name="T6" fmla="*/ 7 w 133"/>
                <a:gd name="T7" fmla="*/ 0 h 59"/>
                <a:gd name="T8" fmla="*/ 24 w 133"/>
                <a:gd name="T9" fmla="*/ 50 h 59"/>
                <a:gd name="T10" fmla="*/ 109 w 133"/>
                <a:gd name="T11" fmla="*/ 50 h 59"/>
                <a:gd name="T12" fmla="*/ 125 w 133"/>
                <a:gd name="T13" fmla="*/ 0 h 59"/>
                <a:gd name="T14" fmla="*/ 133 w 133"/>
                <a:gd name="T15" fmla="*/ 3 h 59"/>
                <a:gd name="T16" fmla="*/ 115 w 133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59">
                  <a:moveTo>
                    <a:pt x="115" y="59"/>
                  </a:moveTo>
                  <a:lnTo>
                    <a:pt x="18" y="5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50"/>
                  </a:lnTo>
                  <a:lnTo>
                    <a:pt x="109" y="50"/>
                  </a:lnTo>
                  <a:lnTo>
                    <a:pt x="125" y="0"/>
                  </a:lnTo>
                  <a:lnTo>
                    <a:pt x="133" y="3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5" name="Rectangle 535">
              <a:extLst>
                <a:ext uri="{FF2B5EF4-FFF2-40B4-BE49-F238E27FC236}">
                  <a16:creationId xmlns:a16="http://schemas.microsoft.com/office/drawing/2014/main" id="{BE37B4B4-9834-0694-B549-E1FB5E7B5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1" y="2192338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6" name="Freeform 536">
              <a:extLst>
                <a:ext uri="{FF2B5EF4-FFF2-40B4-BE49-F238E27FC236}">
                  <a16:creationId xmlns:a16="http://schemas.microsoft.com/office/drawing/2014/main" id="{C9A295F6-FADD-508F-20DC-BD727991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9" y="2159001"/>
              <a:ext cx="125413" cy="57150"/>
            </a:xfrm>
            <a:custGeom>
              <a:avLst/>
              <a:gdLst>
                <a:gd name="T0" fmla="*/ 78 w 156"/>
                <a:gd name="T1" fmla="*/ 70 h 70"/>
                <a:gd name="T2" fmla="*/ 0 w 156"/>
                <a:gd name="T3" fmla="*/ 0 h 70"/>
                <a:gd name="T4" fmla="*/ 17 w 156"/>
                <a:gd name="T5" fmla="*/ 0 h 70"/>
                <a:gd name="T6" fmla="*/ 78 w 156"/>
                <a:gd name="T7" fmla="*/ 54 h 70"/>
                <a:gd name="T8" fmla="*/ 140 w 156"/>
                <a:gd name="T9" fmla="*/ 0 h 70"/>
                <a:gd name="T10" fmla="*/ 156 w 156"/>
                <a:gd name="T11" fmla="*/ 0 h 70"/>
                <a:gd name="T12" fmla="*/ 78 w 156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0">
                  <a:moveTo>
                    <a:pt x="78" y="70"/>
                  </a:moveTo>
                  <a:cubicBezTo>
                    <a:pt x="35" y="70"/>
                    <a:pt x="0" y="39"/>
                    <a:pt x="0" y="0"/>
                  </a:cubicBezTo>
                  <a:lnTo>
                    <a:pt x="17" y="0"/>
                  </a:lnTo>
                  <a:cubicBezTo>
                    <a:pt x="17" y="30"/>
                    <a:pt x="45" y="54"/>
                    <a:pt x="78" y="54"/>
                  </a:cubicBezTo>
                  <a:cubicBezTo>
                    <a:pt x="112" y="54"/>
                    <a:pt x="140" y="30"/>
                    <a:pt x="140" y="0"/>
                  </a:cubicBezTo>
                  <a:lnTo>
                    <a:pt x="156" y="0"/>
                  </a:lnTo>
                  <a:cubicBezTo>
                    <a:pt x="156" y="39"/>
                    <a:pt x="121" y="70"/>
                    <a:pt x="7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7" name="Freeform 537">
              <a:extLst>
                <a:ext uri="{FF2B5EF4-FFF2-40B4-BE49-F238E27FC236}">
                  <a16:creationId xmlns:a16="http://schemas.microsoft.com/office/drawing/2014/main" id="{D2C23759-2BA8-B1D4-5EC3-2EA32A33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9" y="1892301"/>
              <a:ext cx="33338" cy="73025"/>
            </a:xfrm>
            <a:custGeom>
              <a:avLst/>
              <a:gdLst>
                <a:gd name="T0" fmla="*/ 40 w 41"/>
                <a:gd name="T1" fmla="*/ 89 h 89"/>
                <a:gd name="T2" fmla="*/ 24 w 41"/>
                <a:gd name="T3" fmla="*/ 88 h 89"/>
                <a:gd name="T4" fmla="*/ 0 w 41"/>
                <a:gd name="T5" fmla="*/ 11 h 89"/>
                <a:gd name="T6" fmla="*/ 12 w 41"/>
                <a:gd name="T7" fmla="*/ 0 h 89"/>
                <a:gd name="T8" fmla="*/ 40 w 41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9">
                  <a:moveTo>
                    <a:pt x="40" y="89"/>
                  </a:moveTo>
                  <a:lnTo>
                    <a:pt x="24" y="88"/>
                  </a:lnTo>
                  <a:cubicBezTo>
                    <a:pt x="24" y="63"/>
                    <a:pt x="16" y="27"/>
                    <a:pt x="0" y="11"/>
                  </a:cubicBezTo>
                  <a:lnTo>
                    <a:pt x="12" y="0"/>
                  </a:lnTo>
                  <a:cubicBezTo>
                    <a:pt x="33" y="20"/>
                    <a:pt x="41" y="64"/>
                    <a:pt x="4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8" name="Freeform 538">
              <a:extLst>
                <a:ext uri="{FF2B5EF4-FFF2-40B4-BE49-F238E27FC236}">
                  <a16:creationId xmlns:a16="http://schemas.microsoft.com/office/drawing/2014/main" id="{57192022-26F4-B19C-71D4-C0559CD0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3751" y="1892301"/>
              <a:ext cx="31750" cy="73025"/>
            </a:xfrm>
            <a:custGeom>
              <a:avLst/>
              <a:gdLst>
                <a:gd name="T0" fmla="*/ 0 w 40"/>
                <a:gd name="T1" fmla="*/ 89 h 89"/>
                <a:gd name="T2" fmla="*/ 29 w 40"/>
                <a:gd name="T3" fmla="*/ 0 h 89"/>
                <a:gd name="T4" fmla="*/ 40 w 40"/>
                <a:gd name="T5" fmla="*/ 11 h 89"/>
                <a:gd name="T6" fmla="*/ 17 w 40"/>
                <a:gd name="T7" fmla="*/ 88 h 89"/>
                <a:gd name="T8" fmla="*/ 0 w 40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9">
                  <a:moveTo>
                    <a:pt x="0" y="89"/>
                  </a:moveTo>
                  <a:cubicBezTo>
                    <a:pt x="0" y="64"/>
                    <a:pt x="8" y="20"/>
                    <a:pt x="29" y="0"/>
                  </a:cubicBezTo>
                  <a:lnTo>
                    <a:pt x="40" y="11"/>
                  </a:lnTo>
                  <a:cubicBezTo>
                    <a:pt x="25" y="26"/>
                    <a:pt x="16" y="63"/>
                    <a:pt x="17" y="88"/>
                  </a:cubicBezTo>
                  <a:lnTo>
                    <a:pt x="0" y="8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9" name="Freeform 539">
              <a:extLst>
                <a:ext uri="{FF2B5EF4-FFF2-40B4-BE49-F238E27FC236}">
                  <a16:creationId xmlns:a16="http://schemas.microsoft.com/office/drawing/2014/main" id="{FADBF14F-16E8-E580-AA34-8C72B53CF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4" y="2259013"/>
              <a:ext cx="204788" cy="65088"/>
            </a:xfrm>
            <a:custGeom>
              <a:avLst/>
              <a:gdLst>
                <a:gd name="T0" fmla="*/ 129 w 129"/>
                <a:gd name="T1" fmla="*/ 41 h 41"/>
                <a:gd name="T2" fmla="*/ 121 w 129"/>
                <a:gd name="T3" fmla="*/ 41 h 41"/>
                <a:gd name="T4" fmla="*/ 121 w 129"/>
                <a:gd name="T5" fmla="*/ 9 h 41"/>
                <a:gd name="T6" fmla="*/ 8 w 129"/>
                <a:gd name="T7" fmla="*/ 9 h 41"/>
                <a:gd name="T8" fmla="*/ 8 w 129"/>
                <a:gd name="T9" fmla="*/ 41 h 41"/>
                <a:gd name="T10" fmla="*/ 0 w 129"/>
                <a:gd name="T11" fmla="*/ 41 h 41"/>
                <a:gd name="T12" fmla="*/ 0 w 129"/>
                <a:gd name="T13" fmla="*/ 0 h 41"/>
                <a:gd name="T14" fmla="*/ 129 w 129"/>
                <a:gd name="T15" fmla="*/ 0 h 41"/>
                <a:gd name="T16" fmla="*/ 129 w 129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41">
                  <a:moveTo>
                    <a:pt x="129" y="41"/>
                  </a:moveTo>
                  <a:lnTo>
                    <a:pt x="121" y="41"/>
                  </a:lnTo>
                  <a:lnTo>
                    <a:pt x="121" y="9"/>
                  </a:lnTo>
                  <a:lnTo>
                    <a:pt x="8" y="9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12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40" name="Contamin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AA2A1F-A1BA-1488-412E-1D83EEB6D7DE}"/>
              </a:ext>
            </a:extLst>
          </p:cNvPr>
          <p:cNvGrpSpPr>
            <a:grpSpLocks noChangeAspect="1"/>
          </p:cNvGrpSpPr>
          <p:nvPr/>
        </p:nvGrpSpPr>
        <p:grpSpPr>
          <a:xfrm>
            <a:off x="6538271" y="4899409"/>
            <a:ext cx="433182" cy="429377"/>
            <a:chOff x="4278313" y="254000"/>
            <a:chExt cx="903288" cy="895351"/>
          </a:xfrm>
        </p:grpSpPr>
        <p:sp>
          <p:nvSpPr>
            <p:cNvPr id="22541" name="Freeform 88">
              <a:extLst>
                <a:ext uri="{FF2B5EF4-FFF2-40B4-BE49-F238E27FC236}">
                  <a16:creationId xmlns:a16="http://schemas.microsoft.com/office/drawing/2014/main" id="{917A7606-D422-A629-1335-C3688068C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665163"/>
              <a:ext cx="477838" cy="484188"/>
            </a:xfrm>
            <a:custGeom>
              <a:avLst/>
              <a:gdLst>
                <a:gd name="T0" fmla="*/ 149 w 636"/>
                <a:gd name="T1" fmla="*/ 604 h 643"/>
                <a:gd name="T2" fmla="*/ 268 w 636"/>
                <a:gd name="T3" fmla="*/ 464 h 643"/>
                <a:gd name="T4" fmla="*/ 389 w 636"/>
                <a:gd name="T5" fmla="*/ 496 h 643"/>
                <a:gd name="T6" fmla="*/ 636 w 636"/>
                <a:gd name="T7" fmla="*/ 247 h 643"/>
                <a:gd name="T8" fmla="*/ 622 w 636"/>
                <a:gd name="T9" fmla="*/ 167 h 643"/>
                <a:gd name="T10" fmla="*/ 387 w 636"/>
                <a:gd name="T11" fmla="*/ 0 h 643"/>
                <a:gd name="T12" fmla="*/ 140 w 636"/>
                <a:gd name="T13" fmla="*/ 249 h 643"/>
                <a:gd name="T14" fmla="*/ 154 w 636"/>
                <a:gd name="T15" fmla="*/ 329 h 643"/>
                <a:gd name="T16" fmla="*/ 173 w 636"/>
                <a:gd name="T17" fmla="*/ 370 h 643"/>
                <a:gd name="T18" fmla="*/ 34 w 636"/>
                <a:gd name="T19" fmla="*/ 491 h 643"/>
                <a:gd name="T20" fmla="*/ 10 w 636"/>
                <a:gd name="T21" fmla="*/ 577 h 643"/>
                <a:gd name="T22" fmla="*/ 31 w 636"/>
                <a:gd name="T23" fmla="*/ 609 h 643"/>
                <a:gd name="T24" fmla="*/ 149 w 636"/>
                <a:gd name="T25" fmla="*/ 604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643">
                  <a:moveTo>
                    <a:pt x="149" y="604"/>
                  </a:moveTo>
                  <a:lnTo>
                    <a:pt x="268" y="464"/>
                  </a:lnTo>
                  <a:cubicBezTo>
                    <a:pt x="304" y="484"/>
                    <a:pt x="345" y="496"/>
                    <a:pt x="389" y="496"/>
                  </a:cubicBezTo>
                  <a:cubicBezTo>
                    <a:pt x="526" y="495"/>
                    <a:pt x="636" y="384"/>
                    <a:pt x="636" y="247"/>
                  </a:cubicBezTo>
                  <a:cubicBezTo>
                    <a:pt x="636" y="219"/>
                    <a:pt x="631" y="192"/>
                    <a:pt x="622" y="167"/>
                  </a:cubicBezTo>
                  <a:cubicBezTo>
                    <a:pt x="588" y="70"/>
                    <a:pt x="496" y="0"/>
                    <a:pt x="387" y="0"/>
                  </a:cubicBezTo>
                  <a:cubicBezTo>
                    <a:pt x="251" y="1"/>
                    <a:pt x="140" y="112"/>
                    <a:pt x="140" y="249"/>
                  </a:cubicBezTo>
                  <a:cubicBezTo>
                    <a:pt x="141" y="277"/>
                    <a:pt x="145" y="304"/>
                    <a:pt x="154" y="329"/>
                  </a:cubicBezTo>
                  <a:cubicBezTo>
                    <a:pt x="159" y="343"/>
                    <a:pt x="165" y="357"/>
                    <a:pt x="173" y="370"/>
                  </a:cubicBezTo>
                  <a:lnTo>
                    <a:pt x="34" y="491"/>
                  </a:lnTo>
                  <a:cubicBezTo>
                    <a:pt x="8" y="514"/>
                    <a:pt x="0" y="547"/>
                    <a:pt x="10" y="577"/>
                  </a:cubicBezTo>
                  <a:cubicBezTo>
                    <a:pt x="14" y="588"/>
                    <a:pt x="21" y="599"/>
                    <a:pt x="31" y="609"/>
                  </a:cubicBezTo>
                  <a:cubicBezTo>
                    <a:pt x="63" y="641"/>
                    <a:pt x="116" y="643"/>
                    <a:pt x="149" y="604"/>
                  </a:cubicBezTo>
                  <a:close/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2" name="Oval 89">
              <a:extLst>
                <a:ext uri="{FF2B5EF4-FFF2-40B4-BE49-F238E27FC236}">
                  <a16:creationId xmlns:a16="http://schemas.microsoft.com/office/drawing/2014/main" id="{3290D548-5D24-FE83-F7C9-5B003450B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13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3" name="Freeform 90">
              <a:extLst>
                <a:ext uri="{FF2B5EF4-FFF2-40B4-BE49-F238E27FC236}">
                  <a16:creationId xmlns:a16="http://schemas.microsoft.com/office/drawing/2014/main" id="{F1A8FC83-A2D5-8ED6-E94E-A4602EEE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050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4" name="Oval 91">
              <a:extLst>
                <a:ext uri="{FF2B5EF4-FFF2-40B4-BE49-F238E27FC236}">
                  <a16:creationId xmlns:a16="http://schemas.microsoft.com/office/drawing/2014/main" id="{3A3461D9-2CA8-36AE-91E6-5CFC6DF85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9675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5" name="Freeform 92">
              <a:extLst>
                <a:ext uri="{FF2B5EF4-FFF2-40B4-BE49-F238E27FC236}">
                  <a16:creationId xmlns:a16="http://schemas.microsoft.com/office/drawing/2014/main" id="{1080861E-5843-B873-9459-6713B7223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6" name="Oval 93">
              <a:extLst>
                <a:ext uri="{FF2B5EF4-FFF2-40B4-BE49-F238E27FC236}">
                  <a16:creationId xmlns:a16="http://schemas.microsoft.com/office/drawing/2014/main" id="{42C31F1A-94D6-088F-DDF9-299CE60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088" y="719138"/>
              <a:ext cx="117475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7" name="Freeform 94">
              <a:extLst>
                <a:ext uri="{FF2B5EF4-FFF2-40B4-BE49-F238E27FC236}">
                  <a16:creationId xmlns:a16="http://schemas.microsoft.com/office/drawing/2014/main" id="{C374B31A-6A89-0E8B-5596-9AC9C407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582613"/>
              <a:ext cx="71438" cy="93663"/>
            </a:xfrm>
            <a:custGeom>
              <a:avLst/>
              <a:gdLst>
                <a:gd name="T0" fmla="*/ 95 w 95"/>
                <a:gd name="T1" fmla="*/ 0 h 125"/>
                <a:gd name="T2" fmla="*/ 0 w 95"/>
                <a:gd name="T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125">
                  <a:moveTo>
                    <a:pt x="95" y="0"/>
                  </a:moveTo>
                  <a:cubicBezTo>
                    <a:pt x="95" y="60"/>
                    <a:pt x="55" y="110"/>
                    <a:pt x="0" y="125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8" name="Freeform 95">
              <a:extLst>
                <a:ext uri="{FF2B5EF4-FFF2-40B4-BE49-F238E27FC236}">
                  <a16:creationId xmlns:a16="http://schemas.microsoft.com/office/drawing/2014/main" id="{D76BBCB8-3217-08A8-7384-68B436022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88" y="582613"/>
              <a:ext cx="98425" cy="96838"/>
            </a:xfrm>
            <a:custGeom>
              <a:avLst/>
              <a:gdLst>
                <a:gd name="T0" fmla="*/ 0 w 130"/>
                <a:gd name="T1" fmla="*/ 0 h 130"/>
                <a:gd name="T2" fmla="*/ 130 w 130"/>
                <a:gd name="T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0" h="130">
                  <a:moveTo>
                    <a:pt x="0" y="0"/>
                  </a:moveTo>
                  <a:cubicBezTo>
                    <a:pt x="0" y="72"/>
                    <a:pt x="58" y="130"/>
                    <a:pt x="130" y="130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9" name="Line 96">
              <a:extLst>
                <a:ext uri="{FF2B5EF4-FFF2-40B4-BE49-F238E27FC236}">
                  <a16:creationId xmlns:a16="http://schemas.microsoft.com/office/drawing/2014/main" id="{1E0EAE6E-AF13-D57B-A41F-BCB592AB2E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25" y="582613"/>
              <a:ext cx="0" cy="82550"/>
            </a:xfrm>
            <a:prstGeom prst="lin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0" name="Oval 97">
              <a:extLst>
                <a:ext uri="{FF2B5EF4-FFF2-40B4-BE49-F238E27FC236}">
                  <a16:creationId xmlns:a16="http://schemas.microsoft.com/office/drawing/2014/main" id="{D94EA36B-20E0-28B5-8BDE-D3601CECA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54000"/>
              <a:ext cx="130175" cy="130175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1" name="Freeform 98">
              <a:extLst>
                <a:ext uri="{FF2B5EF4-FFF2-40B4-BE49-F238E27FC236}">
                  <a16:creationId xmlns:a16="http://schemas.microsoft.com/office/drawing/2014/main" id="{48DAC6DE-A298-0D45-7E7D-ACCC81C5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423863"/>
              <a:ext cx="225425" cy="109538"/>
            </a:xfrm>
            <a:custGeom>
              <a:avLst/>
              <a:gdLst>
                <a:gd name="T0" fmla="*/ 300 w 300"/>
                <a:gd name="T1" fmla="*/ 146 h 146"/>
                <a:gd name="T2" fmla="*/ 300 w 300"/>
                <a:gd name="T3" fmla="*/ 110 h 146"/>
                <a:gd name="T4" fmla="*/ 150 w 300"/>
                <a:gd name="T5" fmla="*/ 0 h 146"/>
                <a:gd name="T6" fmla="*/ 0 w 300"/>
                <a:gd name="T7" fmla="*/ 110 h 146"/>
                <a:gd name="T8" fmla="*/ 0 w 300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46">
                  <a:moveTo>
                    <a:pt x="300" y="146"/>
                  </a:moveTo>
                  <a:lnTo>
                    <a:pt x="300" y="110"/>
                  </a:lnTo>
                  <a:cubicBezTo>
                    <a:pt x="300" y="40"/>
                    <a:pt x="233" y="0"/>
                    <a:pt x="150" y="0"/>
                  </a:cubicBezTo>
                  <a:cubicBezTo>
                    <a:pt x="67" y="0"/>
                    <a:pt x="0" y="40"/>
                    <a:pt x="0" y="110"/>
                  </a:cubicBezTo>
                  <a:lnTo>
                    <a:pt x="0" y="146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2" name="Freeform 99">
              <a:extLst>
                <a:ext uri="{FF2B5EF4-FFF2-40B4-BE49-F238E27FC236}">
                  <a16:creationId xmlns:a16="http://schemas.microsoft.com/office/drawing/2014/main" id="{3E54C03A-5CEE-7CE1-535E-3DF6701D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874713"/>
              <a:ext cx="173038" cy="96838"/>
            </a:xfrm>
            <a:custGeom>
              <a:avLst/>
              <a:gdLst>
                <a:gd name="T0" fmla="*/ 231 w 231"/>
                <a:gd name="T1" fmla="*/ 129 h 129"/>
                <a:gd name="T2" fmla="*/ 231 w 231"/>
                <a:gd name="T3" fmla="*/ 100 h 129"/>
                <a:gd name="T4" fmla="*/ 95 w 231"/>
                <a:gd name="T5" fmla="*/ 0 h 129"/>
                <a:gd name="T6" fmla="*/ 0 w 231"/>
                <a:gd name="T7" fmla="*/ 2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9">
                  <a:moveTo>
                    <a:pt x="231" y="129"/>
                  </a:moveTo>
                  <a:lnTo>
                    <a:pt x="231" y="100"/>
                  </a:lnTo>
                  <a:cubicBezTo>
                    <a:pt x="231" y="36"/>
                    <a:pt x="170" y="0"/>
                    <a:pt x="95" y="0"/>
                  </a:cubicBezTo>
                  <a:cubicBezTo>
                    <a:pt x="58" y="0"/>
                    <a:pt x="24" y="9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2553" name="Rectangle 90">
            <a:extLst>
              <a:ext uri="{FF2B5EF4-FFF2-40B4-BE49-F238E27FC236}">
                <a16:creationId xmlns:a16="http://schemas.microsoft.com/office/drawing/2014/main" id="{2A93375F-6DE9-B284-142C-FED393BFEA9A}"/>
              </a:ext>
            </a:extLst>
          </p:cNvPr>
          <p:cNvSpPr>
            <a:spLocks noChangeAspect="1"/>
          </p:cNvSpPr>
          <p:nvPr/>
        </p:nvSpPr>
        <p:spPr>
          <a:xfrm>
            <a:off x="5810776" y="201174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4" name="Rectangle 91">
            <a:extLst>
              <a:ext uri="{FF2B5EF4-FFF2-40B4-BE49-F238E27FC236}">
                <a16:creationId xmlns:a16="http://schemas.microsoft.com/office/drawing/2014/main" id="{7240F90D-B087-761D-522D-5EB171A23897}"/>
              </a:ext>
            </a:extLst>
          </p:cNvPr>
          <p:cNvSpPr>
            <a:spLocks noChangeAspect="1"/>
          </p:cNvSpPr>
          <p:nvPr/>
        </p:nvSpPr>
        <p:spPr>
          <a:xfrm>
            <a:off x="7229104" y="240996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5" name="Rectangle 92">
            <a:extLst>
              <a:ext uri="{FF2B5EF4-FFF2-40B4-BE49-F238E27FC236}">
                <a16:creationId xmlns:a16="http://schemas.microsoft.com/office/drawing/2014/main" id="{CAB08412-D5D9-3521-EA8D-C6B88A1D1DD6}"/>
              </a:ext>
            </a:extLst>
          </p:cNvPr>
          <p:cNvSpPr>
            <a:spLocks noChangeAspect="1"/>
          </p:cNvSpPr>
          <p:nvPr/>
        </p:nvSpPr>
        <p:spPr>
          <a:xfrm>
            <a:off x="7571536" y="3875684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4048502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27</TotalTime>
  <Words>1083</Words>
  <Application>Microsoft Macintosh PowerPoint</Application>
  <PresentationFormat>Apresentação na tela (4:3)</PresentationFormat>
  <Paragraphs>182</Paragraphs>
  <Slides>55</Slides>
  <Notes>52</Notes>
  <HiddenSlides>0</HiddenSlides>
  <MMClips>0</MMClips>
  <ScaleCrop>false</ScaleCrop>
  <HeadingPairs>
    <vt:vector size="6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55</vt:i4>
      </vt:variant>
    </vt:vector>
  </HeadingPairs>
  <TitlesOfParts>
    <vt:vector size="65" baseType="lpstr">
      <vt:lpstr>Arial</vt:lpstr>
      <vt:lpstr>Calibri</vt:lpstr>
      <vt:lpstr>Calibri Light</vt:lpstr>
      <vt:lpstr>Gotham HTF</vt:lpstr>
      <vt:lpstr>Gotham HTF Light</vt:lpstr>
      <vt:lpstr>Gotham HTF Medium</vt:lpstr>
      <vt:lpstr>Times New Roman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Gabriela Salomão</cp:lastModifiedBy>
  <cp:revision>455</cp:revision>
  <dcterms:created xsi:type="dcterms:W3CDTF">2018-08-18T04:32:45Z</dcterms:created>
  <dcterms:modified xsi:type="dcterms:W3CDTF">2023-08-28T17:5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